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4427" r:id="rId4"/>
  </p:sldMasterIdLst>
  <p:notesMasterIdLst>
    <p:notesMasterId r:id="rId30"/>
  </p:notesMasterIdLst>
  <p:sldIdLst>
    <p:sldId id="256" r:id="rId5"/>
    <p:sldId id="2147468902" r:id="rId6"/>
    <p:sldId id="290" r:id="rId7"/>
    <p:sldId id="260" r:id="rId8"/>
    <p:sldId id="261" r:id="rId9"/>
    <p:sldId id="263" r:id="rId10"/>
    <p:sldId id="2147471897" r:id="rId11"/>
    <p:sldId id="2147474385" r:id="rId12"/>
    <p:sldId id="2147474392" r:id="rId13"/>
    <p:sldId id="2147474393" r:id="rId14"/>
    <p:sldId id="2147474398" r:id="rId15"/>
    <p:sldId id="2147474396" r:id="rId16"/>
    <p:sldId id="2147474390" r:id="rId17"/>
    <p:sldId id="2147474391" r:id="rId18"/>
    <p:sldId id="2147474399" r:id="rId19"/>
    <p:sldId id="2147474395" r:id="rId20"/>
    <p:sldId id="280" r:id="rId21"/>
    <p:sldId id="2147474401" r:id="rId22"/>
    <p:sldId id="281" r:id="rId23"/>
    <p:sldId id="2147474394" r:id="rId24"/>
    <p:sldId id="284" r:id="rId25"/>
    <p:sldId id="2147468905" r:id="rId26"/>
    <p:sldId id="2147468919" r:id="rId27"/>
    <p:sldId id="2147474400" r:id="rId28"/>
    <p:sldId id="265" r:id="rId29"/>
  </p:sldIdLst>
  <p:sldSz cx="12192000" cy="6858000"/>
  <p:notesSz cx="12192000" cy="6858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2AF03BA-E76B-4079-A7EE-A9837509AD3C}" v="52" dt="2024-03-28T13:24:50.759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062" autoAdjust="0"/>
    <p:restoredTop sz="94660"/>
  </p:normalViewPr>
  <p:slideViewPr>
    <p:cSldViewPr snapToGrid="0">
      <p:cViewPr>
        <p:scale>
          <a:sx n="125" d="100"/>
          <a:sy n="125" d="100"/>
        </p:scale>
        <p:origin x="144" y="-288"/>
      </p:cViewPr>
      <p:guideLst>
        <p:guide orient="horz" pos="2880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notesMaster" Target="notesMasters/notesMaster1.xml"/><Relationship Id="rId35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ao Chen" userId="a226d672-cbb7-4b6b-83bd-e19b653643fa" providerId="ADAL" clId="{E2AF03BA-E76B-4079-A7EE-A9837509AD3C}"/>
    <pc:docChg chg="undo custSel addSld modSld">
      <pc:chgData name="Hao Chen" userId="a226d672-cbb7-4b6b-83bd-e19b653643fa" providerId="ADAL" clId="{E2AF03BA-E76B-4079-A7EE-A9837509AD3C}" dt="2024-03-28T13:24:55.449" v="145" actId="14100"/>
      <pc:docMkLst>
        <pc:docMk/>
      </pc:docMkLst>
      <pc:sldChg chg="modSp mod">
        <pc:chgData name="Hao Chen" userId="a226d672-cbb7-4b6b-83bd-e19b653643fa" providerId="ADAL" clId="{E2AF03BA-E76B-4079-A7EE-A9837509AD3C}" dt="2024-03-28T13:22:28.264" v="135" actId="207"/>
        <pc:sldMkLst>
          <pc:docMk/>
          <pc:sldMk cId="0" sldId="280"/>
        </pc:sldMkLst>
        <pc:spChg chg="mod">
          <ac:chgData name="Hao Chen" userId="a226d672-cbb7-4b6b-83bd-e19b653643fa" providerId="ADAL" clId="{E2AF03BA-E76B-4079-A7EE-A9837509AD3C}" dt="2024-03-28T13:22:10.978" v="134" actId="1076"/>
          <ac:spMkLst>
            <pc:docMk/>
            <pc:sldMk cId="0" sldId="280"/>
            <ac:spMk id="17" creationId="{B4B8EDDB-9DE0-4B4A-334A-2259BEDFCC8B}"/>
          </ac:spMkLst>
        </pc:spChg>
        <pc:spChg chg="mod">
          <ac:chgData name="Hao Chen" userId="a226d672-cbb7-4b6b-83bd-e19b653643fa" providerId="ADAL" clId="{E2AF03BA-E76B-4079-A7EE-A9837509AD3C}" dt="2024-03-28T13:22:28.264" v="135" actId="207"/>
          <ac:spMkLst>
            <pc:docMk/>
            <pc:sldMk cId="0" sldId="280"/>
            <ac:spMk id="18" creationId="{E50F9BC4-49F8-4CA7-176E-726CDBCF567E}"/>
          </ac:spMkLst>
        </pc:spChg>
      </pc:sldChg>
      <pc:sldChg chg="addSp modSp mod">
        <pc:chgData name="Hao Chen" userId="a226d672-cbb7-4b6b-83bd-e19b653643fa" providerId="ADAL" clId="{E2AF03BA-E76B-4079-A7EE-A9837509AD3C}" dt="2024-03-28T13:24:55.449" v="145" actId="14100"/>
        <pc:sldMkLst>
          <pc:docMk/>
          <pc:sldMk cId="0" sldId="281"/>
        </pc:sldMkLst>
        <pc:spChg chg="mod">
          <ac:chgData name="Hao Chen" userId="a226d672-cbb7-4b6b-83bd-e19b653643fa" providerId="ADAL" clId="{E2AF03BA-E76B-4079-A7EE-A9837509AD3C}" dt="2024-03-28T13:22:43.694" v="138" actId="207"/>
          <ac:spMkLst>
            <pc:docMk/>
            <pc:sldMk cId="0" sldId="281"/>
            <ac:spMk id="18" creationId="{0BBCB624-5746-A380-695C-7BB8EACD969A}"/>
          </ac:spMkLst>
        </pc:spChg>
        <pc:spChg chg="mod">
          <ac:chgData name="Hao Chen" userId="a226d672-cbb7-4b6b-83bd-e19b653643fa" providerId="ADAL" clId="{E2AF03BA-E76B-4079-A7EE-A9837509AD3C}" dt="2024-03-28T13:19:17.437" v="112" actId="14100"/>
          <ac:spMkLst>
            <pc:docMk/>
            <pc:sldMk cId="0" sldId="281"/>
            <ac:spMk id="21" creationId="{36DF042A-2366-6646-43CC-A6112AC38681}"/>
          </ac:spMkLst>
        </pc:spChg>
        <pc:spChg chg="mod">
          <ac:chgData name="Hao Chen" userId="a226d672-cbb7-4b6b-83bd-e19b653643fa" providerId="ADAL" clId="{E2AF03BA-E76B-4079-A7EE-A9837509AD3C}" dt="2024-03-28T13:22:48.117" v="139" actId="207"/>
          <ac:spMkLst>
            <pc:docMk/>
            <pc:sldMk cId="0" sldId="281"/>
            <ac:spMk id="24" creationId="{6A5E8C21-0908-41F2-EA8C-F7F0A791C42D}"/>
          </ac:spMkLst>
        </pc:spChg>
        <pc:spChg chg="add mod">
          <ac:chgData name="Hao Chen" userId="a226d672-cbb7-4b6b-83bd-e19b653643fa" providerId="ADAL" clId="{E2AF03BA-E76B-4079-A7EE-A9837509AD3C}" dt="2024-03-28T13:24:55.449" v="145" actId="14100"/>
          <ac:spMkLst>
            <pc:docMk/>
            <pc:sldMk cId="0" sldId="281"/>
            <ac:spMk id="27" creationId="{289DFE9B-7D95-B633-93C5-E423D9BEE411}"/>
          </ac:spMkLst>
        </pc:spChg>
      </pc:sldChg>
      <pc:sldChg chg="addSp delSp modSp mod">
        <pc:chgData name="Hao Chen" userId="a226d672-cbb7-4b6b-83bd-e19b653643fa" providerId="ADAL" clId="{E2AF03BA-E76B-4079-A7EE-A9837509AD3C}" dt="2024-03-28T12:43:25.003" v="100" actId="1076"/>
        <pc:sldMkLst>
          <pc:docMk/>
          <pc:sldMk cId="0" sldId="284"/>
        </pc:sldMkLst>
        <pc:grpChg chg="mod">
          <ac:chgData name="Hao Chen" userId="a226d672-cbb7-4b6b-83bd-e19b653643fa" providerId="ADAL" clId="{E2AF03BA-E76B-4079-A7EE-A9837509AD3C}" dt="2024-03-28T12:36:50.385" v="1" actId="14861"/>
          <ac:grpSpMkLst>
            <pc:docMk/>
            <pc:sldMk cId="0" sldId="284"/>
            <ac:grpSpMk id="4" creationId="{C0D96A0A-9CAA-A361-8AE9-FE58C546F747}"/>
          </ac:grpSpMkLst>
        </pc:grpChg>
        <pc:picChg chg="del mod">
          <ac:chgData name="Hao Chen" userId="a226d672-cbb7-4b6b-83bd-e19b653643fa" providerId="ADAL" clId="{E2AF03BA-E76B-4079-A7EE-A9837509AD3C}" dt="2024-03-28T12:42:48.706" v="89" actId="478"/>
          <ac:picMkLst>
            <pc:docMk/>
            <pc:sldMk cId="0" sldId="284"/>
            <ac:picMk id="2" creationId="{C967B379-98F0-EBAF-5D66-F470BA765463}"/>
          </ac:picMkLst>
        </pc:picChg>
        <pc:picChg chg="mod">
          <ac:chgData name="Hao Chen" userId="a226d672-cbb7-4b6b-83bd-e19b653643fa" providerId="ADAL" clId="{E2AF03BA-E76B-4079-A7EE-A9837509AD3C}" dt="2024-03-28T12:37:14.226" v="2"/>
          <ac:picMkLst>
            <pc:docMk/>
            <pc:sldMk cId="0" sldId="284"/>
            <ac:picMk id="6" creationId="{1EDDDD8C-008E-A6B8-E36A-99FABC685F40}"/>
          </ac:picMkLst>
        </pc:picChg>
        <pc:picChg chg="add mod">
          <ac:chgData name="Hao Chen" userId="a226d672-cbb7-4b6b-83bd-e19b653643fa" providerId="ADAL" clId="{E2AF03BA-E76B-4079-A7EE-A9837509AD3C}" dt="2024-03-28T12:43:25.003" v="100" actId="1076"/>
          <ac:picMkLst>
            <pc:docMk/>
            <pc:sldMk cId="0" sldId="284"/>
            <ac:picMk id="11" creationId="{9732DB7E-0A5D-CD3A-5BC8-3D7D1FF9E0E2}"/>
          </ac:picMkLst>
        </pc:picChg>
        <pc:picChg chg="mod">
          <ac:chgData name="Hao Chen" userId="a226d672-cbb7-4b6b-83bd-e19b653643fa" providerId="ADAL" clId="{E2AF03BA-E76B-4079-A7EE-A9837509AD3C}" dt="2024-03-28T12:37:49.877" v="7"/>
          <ac:picMkLst>
            <pc:docMk/>
            <pc:sldMk cId="0" sldId="284"/>
            <ac:picMk id="35" creationId="{E7822C01-E300-9441-236F-9C24CC465938}"/>
          </ac:picMkLst>
        </pc:picChg>
      </pc:sldChg>
      <pc:sldChg chg="addSp delSp modSp new mod modTransition modClrScheme chgLayout">
        <pc:chgData name="Hao Chen" userId="a226d672-cbb7-4b6b-83bd-e19b653643fa" providerId="ADAL" clId="{E2AF03BA-E76B-4079-A7EE-A9837509AD3C}" dt="2024-03-28T12:42:46.593" v="88" actId="21"/>
        <pc:sldMkLst>
          <pc:docMk/>
          <pc:sldMk cId="1082215905" sldId="2147474400"/>
        </pc:sldMkLst>
        <pc:spChg chg="add del">
          <ac:chgData name="Hao Chen" userId="a226d672-cbb7-4b6b-83bd-e19b653643fa" providerId="ADAL" clId="{E2AF03BA-E76B-4079-A7EE-A9837509AD3C}" dt="2024-03-28T12:42:44.970" v="87" actId="26606"/>
          <ac:spMkLst>
            <pc:docMk/>
            <pc:sldMk cId="1082215905" sldId="2147474400"/>
            <ac:spMk id="2" creationId="{762B6384-810F-1BF7-7627-3D8BF3995A4C}"/>
          </ac:spMkLst>
        </pc:spChg>
        <pc:spChg chg="add mod">
          <ac:chgData name="Hao Chen" userId="a226d672-cbb7-4b6b-83bd-e19b653643fa" providerId="ADAL" clId="{E2AF03BA-E76B-4079-A7EE-A9837509AD3C}" dt="2024-03-28T12:42:44.970" v="87" actId="26606"/>
          <ac:spMkLst>
            <pc:docMk/>
            <pc:sldMk cId="1082215905" sldId="2147474400"/>
            <ac:spMk id="15" creationId="{489A7115-D8FF-6619-9F74-E4ABBF296C25}"/>
          </ac:spMkLst>
        </pc:spChg>
        <pc:spChg chg="add mod">
          <ac:chgData name="Hao Chen" userId="a226d672-cbb7-4b6b-83bd-e19b653643fa" providerId="ADAL" clId="{E2AF03BA-E76B-4079-A7EE-A9837509AD3C}" dt="2024-03-28T12:42:44.970" v="87" actId="26606"/>
          <ac:spMkLst>
            <pc:docMk/>
            <pc:sldMk cId="1082215905" sldId="2147474400"/>
            <ac:spMk id="16" creationId="{95E58068-78F8-A1F0-0DEB-DE4C8846C71F}"/>
          </ac:spMkLst>
        </pc:spChg>
        <pc:spChg chg="add del mod">
          <ac:chgData name="Hao Chen" userId="a226d672-cbb7-4b6b-83bd-e19b653643fa" providerId="ADAL" clId="{E2AF03BA-E76B-4079-A7EE-A9837509AD3C}" dt="2024-03-28T12:42:43.777" v="84" actId="26606"/>
          <ac:spMkLst>
            <pc:docMk/>
            <pc:sldMk cId="1082215905" sldId="2147474400"/>
            <ac:spMk id="18" creationId="{489A7115-D8FF-6619-9F74-E4ABBF296C25}"/>
          </ac:spMkLst>
        </pc:spChg>
        <pc:spChg chg="add del mod">
          <ac:chgData name="Hao Chen" userId="a226d672-cbb7-4b6b-83bd-e19b653643fa" providerId="ADAL" clId="{E2AF03BA-E76B-4079-A7EE-A9837509AD3C}" dt="2024-03-28T12:42:43.777" v="84" actId="26606"/>
          <ac:spMkLst>
            <pc:docMk/>
            <pc:sldMk cId="1082215905" sldId="2147474400"/>
            <ac:spMk id="20" creationId="{95E58068-78F8-A1F0-0DEB-DE4C8846C71F}"/>
          </ac:spMkLst>
        </pc:spChg>
        <pc:picChg chg="add del mod modCrop">
          <ac:chgData name="Hao Chen" userId="a226d672-cbb7-4b6b-83bd-e19b653643fa" providerId="ADAL" clId="{E2AF03BA-E76B-4079-A7EE-A9837509AD3C}" dt="2024-03-28T12:42:27.014" v="76" actId="21"/>
          <ac:picMkLst>
            <pc:docMk/>
            <pc:sldMk cId="1082215905" sldId="2147474400"/>
            <ac:picMk id="3" creationId="{A383DCF8-8D1D-F5AA-8379-36C8486FCDA3}"/>
          </ac:picMkLst>
        </pc:picChg>
        <pc:picChg chg="add del mod modCrop">
          <ac:chgData name="Hao Chen" userId="a226d672-cbb7-4b6b-83bd-e19b653643fa" providerId="ADAL" clId="{E2AF03BA-E76B-4079-A7EE-A9837509AD3C}" dt="2024-03-28T12:42:30.480" v="77" actId="478"/>
          <ac:picMkLst>
            <pc:docMk/>
            <pc:sldMk cId="1082215905" sldId="2147474400"/>
            <ac:picMk id="4" creationId="{D120AA13-1200-0B66-BB09-42A038751723}"/>
          </ac:picMkLst>
        </pc:picChg>
        <pc:picChg chg="add del mod">
          <ac:chgData name="Hao Chen" userId="a226d672-cbb7-4b6b-83bd-e19b653643fa" providerId="ADAL" clId="{E2AF03BA-E76B-4079-A7EE-A9837509AD3C}" dt="2024-03-28T12:41:40.901" v="64" actId="478"/>
          <ac:picMkLst>
            <pc:docMk/>
            <pc:sldMk cId="1082215905" sldId="2147474400"/>
            <ac:picMk id="5" creationId="{9C93314A-9196-5F6A-2081-0235EF897643}"/>
          </ac:picMkLst>
        </pc:picChg>
        <pc:picChg chg="add del mod">
          <ac:chgData name="Hao Chen" userId="a226d672-cbb7-4b6b-83bd-e19b653643fa" providerId="ADAL" clId="{E2AF03BA-E76B-4079-A7EE-A9837509AD3C}" dt="2024-03-28T12:41:56.744" v="68" actId="478"/>
          <ac:picMkLst>
            <pc:docMk/>
            <pc:sldMk cId="1082215905" sldId="2147474400"/>
            <ac:picMk id="6" creationId="{221209F9-483B-921A-DB97-A2089E51A25F}"/>
          </ac:picMkLst>
        </pc:picChg>
        <pc:picChg chg="add del mod">
          <ac:chgData name="Hao Chen" userId="a226d672-cbb7-4b6b-83bd-e19b653643fa" providerId="ADAL" clId="{E2AF03BA-E76B-4079-A7EE-A9837509AD3C}" dt="2024-03-28T12:42:14.552" v="74" actId="478"/>
          <ac:picMkLst>
            <pc:docMk/>
            <pc:sldMk cId="1082215905" sldId="2147474400"/>
            <ac:picMk id="7" creationId="{AAE10E15-A169-93FD-E874-397EDE6832AE}"/>
          </ac:picMkLst>
        </pc:picChg>
        <pc:picChg chg="add del mod">
          <ac:chgData name="Hao Chen" userId="a226d672-cbb7-4b6b-83bd-e19b653643fa" providerId="ADAL" clId="{E2AF03BA-E76B-4079-A7EE-A9837509AD3C}" dt="2024-03-28T12:42:27.014" v="76" actId="21"/>
          <ac:picMkLst>
            <pc:docMk/>
            <pc:sldMk cId="1082215905" sldId="2147474400"/>
            <ac:picMk id="8" creationId="{B3C27A6B-ED8F-F155-8538-3CF5A2329A11}"/>
          </ac:picMkLst>
        </pc:picChg>
        <pc:picChg chg="add del mod">
          <ac:chgData name="Hao Chen" userId="a226d672-cbb7-4b6b-83bd-e19b653643fa" providerId="ADAL" clId="{E2AF03BA-E76B-4079-A7EE-A9837509AD3C}" dt="2024-03-28T12:42:35.514" v="79" actId="21"/>
          <ac:picMkLst>
            <pc:docMk/>
            <pc:sldMk cId="1082215905" sldId="2147474400"/>
            <ac:picMk id="9" creationId="{72A43C0B-8CDD-ABE4-5B39-937C557BACB3}"/>
          </ac:picMkLst>
        </pc:picChg>
        <pc:picChg chg="add del mod">
          <ac:chgData name="Hao Chen" userId="a226d672-cbb7-4b6b-83bd-e19b653643fa" providerId="ADAL" clId="{E2AF03BA-E76B-4079-A7EE-A9837509AD3C}" dt="2024-03-28T12:42:35.514" v="79" actId="21"/>
          <ac:picMkLst>
            <pc:docMk/>
            <pc:sldMk cId="1082215905" sldId="2147474400"/>
            <ac:picMk id="10" creationId="{09980505-149B-6835-20F6-959F2E2FA988}"/>
          </ac:picMkLst>
        </pc:picChg>
        <pc:picChg chg="add del mod">
          <ac:chgData name="Hao Chen" userId="a226d672-cbb7-4b6b-83bd-e19b653643fa" providerId="ADAL" clId="{E2AF03BA-E76B-4079-A7EE-A9837509AD3C}" dt="2024-03-28T12:42:38.302" v="81"/>
          <ac:picMkLst>
            <pc:docMk/>
            <pc:sldMk cId="1082215905" sldId="2147474400"/>
            <ac:picMk id="11" creationId="{A980C8EA-9BE4-4C49-EA3D-5381702825E0}"/>
          </ac:picMkLst>
        </pc:picChg>
        <pc:picChg chg="add del mod">
          <ac:chgData name="Hao Chen" userId="a226d672-cbb7-4b6b-83bd-e19b653643fa" providerId="ADAL" clId="{E2AF03BA-E76B-4079-A7EE-A9837509AD3C}" dt="2024-03-28T12:42:38.302" v="81"/>
          <ac:picMkLst>
            <pc:docMk/>
            <pc:sldMk cId="1082215905" sldId="2147474400"/>
            <ac:picMk id="12" creationId="{CB70B042-EDB3-26A1-123D-EA1AE9A2065A}"/>
          </ac:picMkLst>
        </pc:picChg>
        <pc:picChg chg="add del mod">
          <ac:chgData name="Hao Chen" userId="a226d672-cbb7-4b6b-83bd-e19b653643fa" providerId="ADAL" clId="{E2AF03BA-E76B-4079-A7EE-A9837509AD3C}" dt="2024-03-28T12:42:46.593" v="88" actId="21"/>
          <ac:picMkLst>
            <pc:docMk/>
            <pc:sldMk cId="1082215905" sldId="2147474400"/>
            <ac:picMk id="13" creationId="{77CEC723-75DC-E1B1-0F24-033AEFE98D03}"/>
          </ac:picMkLst>
        </pc:picChg>
      </pc:sldChg>
      <pc:sldChg chg="addSp delSp modSp add mod">
        <pc:chgData name="Hao Chen" userId="a226d672-cbb7-4b6b-83bd-e19b653643fa" providerId="ADAL" clId="{E2AF03BA-E76B-4079-A7EE-A9837509AD3C}" dt="2024-03-28T13:24:45.202" v="142" actId="208"/>
        <pc:sldMkLst>
          <pc:docMk/>
          <pc:sldMk cId="2370783281" sldId="2147474401"/>
        </pc:sldMkLst>
        <pc:spChg chg="add mod">
          <ac:chgData name="Hao Chen" userId="a226d672-cbb7-4b6b-83bd-e19b653643fa" providerId="ADAL" clId="{E2AF03BA-E76B-4079-A7EE-A9837509AD3C}" dt="2024-03-28T13:24:45.202" v="142" actId="208"/>
          <ac:spMkLst>
            <pc:docMk/>
            <pc:sldMk cId="2370783281" sldId="2147474401"/>
            <ac:spMk id="6" creationId="{0E200CF0-6F76-6EFF-DDDE-9EE6278A1F43}"/>
          </ac:spMkLst>
        </pc:spChg>
        <pc:spChg chg="mod">
          <ac:chgData name="Hao Chen" userId="a226d672-cbb7-4b6b-83bd-e19b653643fa" providerId="ADAL" clId="{E2AF03BA-E76B-4079-A7EE-A9837509AD3C}" dt="2024-03-28T13:22:34.546" v="136" actId="207"/>
          <ac:spMkLst>
            <pc:docMk/>
            <pc:sldMk cId="2370783281" sldId="2147474401"/>
            <ac:spMk id="18" creationId="{0BBCB624-5746-A380-695C-7BB8EACD969A}"/>
          </ac:spMkLst>
        </pc:spChg>
        <pc:spChg chg="mod">
          <ac:chgData name="Hao Chen" userId="a226d672-cbb7-4b6b-83bd-e19b653643fa" providerId="ADAL" clId="{E2AF03BA-E76B-4079-A7EE-A9837509AD3C}" dt="2024-03-28T13:22:38.360" v="137" actId="207"/>
          <ac:spMkLst>
            <pc:docMk/>
            <pc:sldMk cId="2370783281" sldId="2147474401"/>
            <ac:spMk id="24" creationId="{6A5E8C21-0908-41F2-EA8C-F7F0A791C42D}"/>
          </ac:spMkLst>
        </pc:spChg>
        <pc:picChg chg="add mod">
          <ac:chgData name="Hao Chen" userId="a226d672-cbb7-4b6b-83bd-e19b653643fa" providerId="ADAL" clId="{E2AF03BA-E76B-4079-A7EE-A9837509AD3C}" dt="2024-03-28T13:19:58.952" v="119" actId="14100"/>
          <ac:picMkLst>
            <pc:docMk/>
            <pc:sldMk cId="2370783281" sldId="2147474401"/>
            <ac:picMk id="3" creationId="{D1D26774-477C-B429-2694-43AA8B0C893D}"/>
          </ac:picMkLst>
        </pc:picChg>
        <pc:picChg chg="add mod ord">
          <ac:chgData name="Hao Chen" userId="a226d672-cbb7-4b6b-83bd-e19b653643fa" providerId="ADAL" clId="{E2AF03BA-E76B-4079-A7EE-A9837509AD3C}" dt="2024-03-28T13:20:38.038" v="132" actId="1076"/>
          <ac:picMkLst>
            <pc:docMk/>
            <pc:sldMk cId="2370783281" sldId="2147474401"/>
            <ac:picMk id="5" creationId="{27B8429F-7568-B2E4-191B-FB9A2CBC721A}"/>
          </ac:picMkLst>
        </pc:picChg>
        <pc:picChg chg="del">
          <ac:chgData name="Hao Chen" userId="a226d672-cbb7-4b6b-83bd-e19b653643fa" providerId="ADAL" clId="{E2AF03BA-E76B-4079-A7EE-A9837509AD3C}" dt="2024-03-28T13:20:17.750" v="120" actId="478"/>
          <ac:picMkLst>
            <pc:docMk/>
            <pc:sldMk cId="2370783281" sldId="2147474401"/>
            <ac:picMk id="23" creationId="{3CEFF084-E65E-81B8-8219-3E8570A3EB01}"/>
          </ac:picMkLst>
        </pc:picChg>
        <pc:picChg chg="del">
          <ac:chgData name="Hao Chen" userId="a226d672-cbb7-4b6b-83bd-e19b653643fa" providerId="ADAL" clId="{E2AF03BA-E76B-4079-A7EE-A9837509AD3C}" dt="2024-03-28T13:19:48.198" v="113" actId="478"/>
          <ac:picMkLst>
            <pc:docMk/>
            <pc:sldMk cId="2370783281" sldId="2147474401"/>
            <ac:picMk id="26" creationId="{70EA5922-0AB7-EE5B-D00C-E28D9AFB7FBE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6905625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C3C7CD5-C0DD-4906-B3E1-500F08EEBF6D}" type="datetimeFigureOut">
              <a:rPr lang="zh-CN" altLang="en-US" smtClean="0"/>
              <a:t>2024/3/2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3A0340-B8C7-43DB-926D-40F922F6BE9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958920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08C4390-E969-495C-BBF1-FA0BBF6B14C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84075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DC2B19-90B7-4BD8-BF1D-48CF31DDAFC9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913024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DC2B19-90B7-4BD8-BF1D-48CF31DDAFC9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21915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3A0340-B8C7-43DB-926D-40F922F6BE92}" type="slidenum">
              <a:rPr lang="zh-CN" altLang="en-US" smtClean="0"/>
              <a:t>2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69888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B2DCCF1-1875-8B44-AA03-B42E52F089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557" y="400872"/>
            <a:ext cx="11500800" cy="1083373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>
              <a:defRPr sz="32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E0CDAA6-331F-A04C-8D03-5F2A3E85E93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5017" y="1642455"/>
            <a:ext cx="11502427" cy="4689429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2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tx2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44559" y="6490093"/>
            <a:ext cx="10884360" cy="23031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933">
                <a:solidFill>
                  <a:schemeClr val="tx2"/>
                </a:solidFill>
              </a:defRPr>
            </a:lvl1pPr>
            <a:lvl2pPr marL="365742" indent="0">
              <a:buNone/>
              <a:defRPr sz="533"/>
            </a:lvl2pPr>
            <a:lvl3pPr marL="731483" indent="0">
              <a:buNone/>
              <a:defRPr sz="400"/>
            </a:lvl3pPr>
            <a:lvl4pPr marL="1097225" indent="0">
              <a:buNone/>
              <a:defRPr sz="267"/>
            </a:lvl4pPr>
            <a:lvl5pPr marL="1462966" indent="0">
              <a:buNone/>
              <a:defRPr sz="267"/>
            </a:lvl5pPr>
          </a:lstStyle>
          <a:p>
            <a:pPr lvl="0"/>
            <a:r>
              <a:rPr lang="en-US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7666571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0EC93FA1-7D55-4FB1-9F99-E241FF307B0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06" y="1016"/>
            <a:ext cx="12188388" cy="685596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AC30BE1E-BADA-D045-99F3-DED7B581DF3D}"/>
              </a:ext>
            </a:extLst>
          </p:cNvPr>
          <p:cNvSpPr/>
          <p:nvPr userDrawn="1"/>
        </p:nvSpPr>
        <p:spPr>
          <a:xfrm>
            <a:off x="0" y="-8107"/>
            <a:ext cx="12192000" cy="6864096"/>
          </a:xfrm>
          <a:prstGeom prst="rect">
            <a:avLst/>
          </a:prstGeom>
          <a:solidFill>
            <a:schemeClr val="accent4">
              <a:alpha val="4789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13" name="Picture 12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FCBC4612-BD2F-40DC-9D70-08DF58DE8A5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64800" y="76201"/>
            <a:ext cx="1633728" cy="306943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0FFB5C56-5F76-A249-A4DF-253F6BAAC55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1724" y="4528445"/>
            <a:ext cx="5596115" cy="640175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0" indent="0" algn="l">
              <a:buNone/>
              <a:defRPr sz="1867" b="0">
                <a:solidFill>
                  <a:schemeClr val="bg1"/>
                </a:solidFill>
              </a:defRPr>
            </a:lvl1pPr>
            <a:lvl2pPr marL="609570" indent="0" algn="ctr">
              <a:buNone/>
              <a:defRPr sz="2667"/>
            </a:lvl2pPr>
            <a:lvl3pPr marL="1219140" indent="0" algn="ctr">
              <a:buNone/>
              <a:defRPr sz="2400"/>
            </a:lvl3pPr>
            <a:lvl4pPr marL="1828709" indent="0" algn="ctr">
              <a:buNone/>
              <a:defRPr sz="2133"/>
            </a:lvl4pPr>
            <a:lvl5pPr marL="2438278" indent="0" algn="ctr">
              <a:buNone/>
              <a:defRPr sz="2133"/>
            </a:lvl5pPr>
            <a:lvl6pPr marL="3047848" indent="0" algn="ctr">
              <a:buNone/>
              <a:defRPr sz="2133"/>
            </a:lvl6pPr>
            <a:lvl7pPr marL="3657418" indent="0" algn="ctr">
              <a:buNone/>
              <a:defRPr sz="2133"/>
            </a:lvl7pPr>
            <a:lvl8pPr marL="4266987" indent="0" algn="ctr">
              <a:buNone/>
              <a:defRPr sz="2133"/>
            </a:lvl8pPr>
            <a:lvl9pPr marL="4876557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E2A3587-F797-0244-89A0-6A927A768D54}"/>
              </a:ext>
            </a:extLst>
          </p:cNvPr>
          <p:cNvSpPr/>
          <p:nvPr userDrawn="1"/>
        </p:nvSpPr>
        <p:spPr>
          <a:xfrm>
            <a:off x="2" y="2112683"/>
            <a:ext cx="240804" cy="195144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A919BB4-6AB1-8B4A-963B-F19ED20CB18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1724" y="2112682"/>
            <a:ext cx="5596115" cy="1951447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algn="l">
              <a:defRPr sz="4800" b="0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5238715" y="6663011"/>
            <a:ext cx="1714571" cy="194990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algn="ctr"/>
            <a:r>
              <a:rPr lang="en-US" sz="667" dirty="0" err="1">
                <a:solidFill>
                  <a:schemeClr val="bg1"/>
                </a:solidFill>
                <a:effectLst/>
                <a:latin typeface="+mn-lt"/>
                <a:ea typeface="Calibri" panose="020F0502020204030204" pitchFamily="34" charset="0"/>
              </a:rPr>
              <a:t>BeiGene</a:t>
            </a:r>
            <a:r>
              <a:rPr lang="en-US" sz="667" dirty="0">
                <a:solidFill>
                  <a:schemeClr val="bg1"/>
                </a:solidFill>
                <a:effectLst/>
                <a:latin typeface="+mn-lt"/>
                <a:ea typeface="Calibri" panose="020F0502020204030204" pitchFamily="34" charset="0"/>
              </a:rPr>
              <a:t> Confidential – Internal Use Only </a:t>
            </a:r>
            <a:endParaRPr lang="en-US" sz="667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802534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44559" y="6490093"/>
            <a:ext cx="10884360" cy="23031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933">
                <a:solidFill>
                  <a:schemeClr val="tx2"/>
                </a:solidFill>
              </a:defRPr>
            </a:lvl1pPr>
            <a:lvl2pPr marL="365742" indent="0">
              <a:buNone/>
              <a:defRPr sz="533"/>
            </a:lvl2pPr>
            <a:lvl3pPr marL="731483" indent="0">
              <a:buNone/>
              <a:defRPr sz="400"/>
            </a:lvl3pPr>
            <a:lvl4pPr marL="1097225" indent="0">
              <a:buNone/>
              <a:defRPr sz="267"/>
            </a:lvl4pPr>
            <a:lvl5pPr marL="1462966" indent="0">
              <a:buNone/>
              <a:defRPr sz="267"/>
            </a:lvl5pPr>
          </a:lstStyle>
          <a:p>
            <a:pPr lvl="0"/>
            <a:r>
              <a:rPr lang="en-US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1974825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vider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5" descr="Ein Bild, das Stern, Outdoorobjekt, Nachthimmel enthält.&#10;&#10;Automatisch generierte Beschreibung">
            <a:extLst>
              <a:ext uri="{FF2B5EF4-FFF2-40B4-BE49-F238E27FC236}">
                <a16:creationId xmlns:a16="http://schemas.microsoft.com/office/drawing/2014/main" id="{AE1DD227-DF96-465B-9386-CDC7389C59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449"/>
            <a:ext cx="12192000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0CD20720-28CB-4A01-B0F0-ED8058C22469}"/>
              </a:ext>
            </a:extLst>
          </p:cNvPr>
          <p:cNvSpPr/>
          <p:nvPr userDrawn="1"/>
        </p:nvSpPr>
        <p:spPr>
          <a:xfrm>
            <a:off x="0" y="0"/>
            <a:ext cx="12192000" cy="6864096"/>
          </a:xfrm>
          <a:prstGeom prst="rect">
            <a:avLst/>
          </a:prstGeom>
          <a:solidFill>
            <a:schemeClr val="accent4">
              <a:alpha val="4789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E2A3587-F797-0244-89A0-6A927A768D54}"/>
              </a:ext>
            </a:extLst>
          </p:cNvPr>
          <p:cNvSpPr/>
          <p:nvPr userDrawn="1"/>
        </p:nvSpPr>
        <p:spPr>
          <a:xfrm>
            <a:off x="2" y="2112683"/>
            <a:ext cx="240804" cy="195144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CA919BB4-6AB1-8B4A-963B-F19ED20CB18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1724" y="2112682"/>
            <a:ext cx="5596115" cy="1951447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algn="l">
              <a:defRPr sz="4800" b="0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0FFB5C56-5F76-A249-A4DF-253F6BAAC55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1724" y="4528445"/>
            <a:ext cx="5596115" cy="640175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0" indent="0" algn="l">
              <a:buNone/>
              <a:defRPr sz="1867" b="0">
                <a:solidFill>
                  <a:schemeClr val="bg1"/>
                </a:solidFill>
              </a:defRPr>
            </a:lvl1pPr>
            <a:lvl2pPr marL="609570" indent="0" algn="ctr">
              <a:buNone/>
              <a:defRPr sz="2667"/>
            </a:lvl2pPr>
            <a:lvl3pPr marL="1219140" indent="0" algn="ctr">
              <a:buNone/>
              <a:defRPr sz="2400"/>
            </a:lvl3pPr>
            <a:lvl4pPr marL="1828709" indent="0" algn="ctr">
              <a:buNone/>
              <a:defRPr sz="2133"/>
            </a:lvl4pPr>
            <a:lvl5pPr marL="2438278" indent="0" algn="ctr">
              <a:buNone/>
              <a:defRPr sz="2133"/>
            </a:lvl5pPr>
            <a:lvl6pPr marL="3047848" indent="0" algn="ctr">
              <a:buNone/>
              <a:defRPr sz="2133"/>
            </a:lvl6pPr>
            <a:lvl7pPr marL="3657418" indent="0" algn="ctr">
              <a:buNone/>
              <a:defRPr sz="2133"/>
            </a:lvl7pPr>
            <a:lvl8pPr marL="4266987" indent="0" algn="ctr">
              <a:buNone/>
              <a:defRPr sz="2133"/>
            </a:lvl8pPr>
            <a:lvl9pPr marL="4876557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5309246" y="6663011"/>
            <a:ext cx="1573508" cy="194990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algn="ctr"/>
            <a:r>
              <a:rPr lang="en-US" sz="667" dirty="0" err="1">
                <a:solidFill>
                  <a:schemeClr val="bg1"/>
                </a:solidFill>
                <a:effectLst/>
                <a:latin typeface="+mn-lt"/>
                <a:ea typeface="Calibri" panose="020F0502020204030204" pitchFamily="34" charset="0"/>
              </a:rPr>
              <a:t>BeiGene</a:t>
            </a:r>
            <a:r>
              <a:rPr lang="en-US" sz="667" dirty="0">
                <a:solidFill>
                  <a:schemeClr val="bg1"/>
                </a:solidFill>
                <a:effectLst/>
                <a:latin typeface="+mn-lt"/>
                <a:ea typeface="Calibri" panose="020F0502020204030204" pitchFamily="34" charset="0"/>
              </a:rPr>
              <a:t> – Proprietary &amp; Confidential </a:t>
            </a:r>
          </a:p>
        </p:txBody>
      </p:sp>
      <p:pic>
        <p:nvPicPr>
          <p:cNvPr id="15" name="Picture 14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B9E70CDC-76DA-4CE6-90BD-B101D4C2597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64800" y="76201"/>
            <a:ext cx="1633728" cy="306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39650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B2DCCF1-1875-8B44-AA03-B42E52F089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559" y="400872"/>
            <a:ext cx="11502887" cy="1083373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>
              <a:defRPr sz="32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E0CDAA6-331F-A04C-8D03-5F2A3E85E93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5017" y="1952488"/>
            <a:ext cx="11502427" cy="4320209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2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tx2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9BCDFE-9539-0646-9A84-BD578E3137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5020" y="1484246"/>
            <a:ext cx="11501965" cy="41036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Add Subtitle Her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44559" y="6490093"/>
            <a:ext cx="10884360" cy="23031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933">
                <a:solidFill>
                  <a:schemeClr val="tx2"/>
                </a:solidFill>
              </a:defRPr>
            </a:lvl1pPr>
            <a:lvl2pPr marL="365742" indent="0">
              <a:buNone/>
              <a:defRPr sz="533"/>
            </a:lvl2pPr>
            <a:lvl3pPr marL="731483" indent="0">
              <a:buNone/>
              <a:defRPr sz="400"/>
            </a:lvl3pPr>
            <a:lvl4pPr marL="1097225" indent="0">
              <a:buNone/>
              <a:defRPr sz="267"/>
            </a:lvl4pPr>
            <a:lvl5pPr marL="1462966" indent="0">
              <a:buNone/>
              <a:defRPr sz="267"/>
            </a:lvl5pPr>
          </a:lstStyle>
          <a:p>
            <a:pPr lvl="0"/>
            <a:r>
              <a:rPr lang="en-US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4762830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B327962C-E5A4-4C73-9518-7643169C762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2191999" cy="6857999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10657"/>
            <a:ext cx="12192000" cy="6864096"/>
          </a:xfrm>
          <a:prstGeom prst="rect">
            <a:avLst/>
          </a:prstGeom>
          <a:gradFill flip="none" rotWithShape="1">
            <a:gsLst>
              <a:gs pos="50000">
                <a:srgbClr val="449ABE">
                  <a:alpha val="22000"/>
                </a:srgbClr>
              </a:gs>
              <a:gs pos="0">
                <a:schemeClr val="accent1">
                  <a:alpha val="37000"/>
                </a:schemeClr>
              </a:gs>
              <a:gs pos="100000">
                <a:schemeClr val="accent2">
                  <a:alpha val="49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0FFB5C56-5F76-A249-A4DF-253F6BAAC55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295442" y="4491849"/>
            <a:ext cx="5601117" cy="384953"/>
          </a:xfrm>
          <a:prstGeom prst="rect">
            <a:avLst/>
          </a:prstGeom>
        </p:spPr>
        <p:txBody>
          <a:bodyPr wrap="square" anchor="ctr">
            <a:normAutofit/>
          </a:bodyPr>
          <a:lstStyle>
            <a:lvl1pPr marL="0" indent="0" algn="ctr">
              <a:buNone/>
              <a:defRPr sz="1333" b="1">
                <a:solidFill>
                  <a:schemeClr val="accent4"/>
                </a:solidFill>
                <a:latin typeface="Gill Sans MT" panose="020B0502020104020203" pitchFamily="34" charset="0"/>
              </a:defRPr>
            </a:lvl1pPr>
            <a:lvl2pPr marL="609570" indent="0" algn="ctr">
              <a:buNone/>
              <a:defRPr sz="2667"/>
            </a:lvl2pPr>
            <a:lvl3pPr marL="1219140" indent="0" algn="ctr">
              <a:buNone/>
              <a:defRPr sz="2400"/>
            </a:lvl3pPr>
            <a:lvl4pPr marL="1828709" indent="0" algn="ctr">
              <a:buNone/>
              <a:defRPr sz="2133"/>
            </a:lvl4pPr>
            <a:lvl5pPr marL="2438278" indent="0" algn="ctr">
              <a:buNone/>
              <a:defRPr sz="2133"/>
            </a:lvl5pPr>
            <a:lvl6pPr marL="3047848" indent="0" algn="ctr">
              <a:buNone/>
              <a:defRPr sz="2133"/>
            </a:lvl6pPr>
            <a:lvl7pPr marL="3657418" indent="0" algn="ctr">
              <a:buNone/>
              <a:defRPr sz="2133"/>
            </a:lvl7pPr>
            <a:lvl8pPr marL="4266987" indent="0" algn="ctr">
              <a:buNone/>
              <a:defRPr sz="2133"/>
            </a:lvl8pPr>
            <a:lvl9pPr marL="4876557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0FDE473-BCA5-4C6B-951F-818079E8B58F}"/>
              </a:ext>
            </a:extLst>
          </p:cNvPr>
          <p:cNvGrpSpPr/>
          <p:nvPr userDrawn="1"/>
        </p:nvGrpSpPr>
        <p:grpSpPr>
          <a:xfrm>
            <a:off x="5194538" y="2006601"/>
            <a:ext cx="1802927" cy="1802927"/>
            <a:chOff x="3895903" y="1676755"/>
            <a:chExt cx="1352195" cy="1352195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CE4C7D55-CB3C-42C6-B2AB-14E9B4989490}"/>
                </a:ext>
              </a:extLst>
            </p:cNvPr>
            <p:cNvSpPr/>
            <p:nvPr userDrawn="1"/>
          </p:nvSpPr>
          <p:spPr>
            <a:xfrm>
              <a:off x="3895903" y="1676755"/>
              <a:ext cx="1352195" cy="1352195"/>
            </a:xfrm>
            <a:prstGeom prst="ellipse">
              <a:avLst/>
            </a:prstGeom>
            <a:solidFill>
              <a:schemeClr val="bg1">
                <a:alpha val="87000"/>
              </a:schemeClr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8D1B2526-F709-4FB0-BB11-E662713E78D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71986" y="2133955"/>
              <a:ext cx="1200028" cy="225460"/>
            </a:xfrm>
            <a:prstGeom prst="rect">
              <a:avLst/>
            </a:prstGeom>
          </p:spPr>
        </p:pic>
      </p:grpSp>
      <p:sp>
        <p:nvSpPr>
          <p:cNvPr id="13" name="Title 1">
            <a:extLst>
              <a:ext uri="{FF2B5EF4-FFF2-40B4-BE49-F238E27FC236}">
                <a16:creationId xmlns:a16="http://schemas.microsoft.com/office/drawing/2014/main" id="{2F996A1F-5AD3-E843-B526-612C8B0B47B5}"/>
              </a:ext>
            </a:extLst>
          </p:cNvPr>
          <p:cNvSpPr txBox="1">
            <a:spLocks/>
          </p:cNvSpPr>
          <p:nvPr userDrawn="1"/>
        </p:nvSpPr>
        <p:spPr>
          <a:xfrm>
            <a:off x="3295443" y="3169314"/>
            <a:ext cx="5601117" cy="126811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121920" tIns="60960" rIns="121920" bIns="6096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en-US" sz="2133" b="0" spc="4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A919BB4-6AB1-8B4A-963B-F19ED20CB18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95442" y="3169314"/>
            <a:ext cx="5601117" cy="1268116"/>
          </a:xfrm>
          <a:prstGeom prst="rect">
            <a:avLst/>
          </a:prstGeom>
        </p:spPr>
        <p:txBody>
          <a:bodyPr wrap="square" anchor="ctr">
            <a:normAutofit/>
          </a:bodyPr>
          <a:lstStyle>
            <a:lvl1pPr marL="0" algn="ctr" defTabSz="121914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0" kern="1200" cap="none" spc="80" baseline="0" dirty="0">
                <a:solidFill>
                  <a:schemeClr val="bg1"/>
                </a:solidFill>
                <a:latin typeface="Gill Sans MT" panose="020B05020201040202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5309246" y="6663011"/>
            <a:ext cx="1573508" cy="194990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algn="ctr"/>
            <a:r>
              <a:rPr lang="en-US" sz="667" dirty="0" err="1">
                <a:solidFill>
                  <a:schemeClr val="tx2"/>
                </a:solidFill>
                <a:effectLst/>
                <a:latin typeface="+mn-lt"/>
                <a:ea typeface="Calibri" panose="020F0502020204030204" pitchFamily="34" charset="0"/>
              </a:rPr>
              <a:t>BeiGene</a:t>
            </a:r>
            <a:r>
              <a:rPr lang="en-US" sz="667" dirty="0">
                <a:solidFill>
                  <a:schemeClr val="tx2"/>
                </a:solidFill>
                <a:effectLst/>
                <a:latin typeface="+mn-lt"/>
                <a:ea typeface="Calibri" panose="020F0502020204030204" pitchFamily="34" charset="0"/>
              </a:rPr>
              <a:t> – Proprietary &amp; Confidential </a:t>
            </a:r>
          </a:p>
        </p:txBody>
      </p:sp>
    </p:spTree>
    <p:extLst>
      <p:ext uri="{BB962C8B-B14F-4D97-AF65-F5344CB8AC3E}">
        <p14:creationId xmlns:p14="http://schemas.microsoft.com/office/powerpoint/2010/main" val="20329970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33F2443A-AA37-3E44-8C98-A20C8F686D33}"/>
              </a:ext>
            </a:extLst>
          </p:cNvPr>
          <p:cNvCxnSpPr>
            <a:cxnSpLocks/>
          </p:cNvCxnSpPr>
          <p:nvPr/>
        </p:nvCxnSpPr>
        <p:spPr>
          <a:xfrm>
            <a:off x="0" y="1036177"/>
            <a:ext cx="12192000" cy="0"/>
          </a:xfrm>
          <a:prstGeom prst="line">
            <a:avLst/>
          </a:prstGeom>
          <a:ln w="6350" cap="rnd">
            <a:solidFill>
              <a:schemeClr val="bg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2A283D6-D3AB-874F-976C-668BDE35C76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39448" y="1400506"/>
            <a:ext cx="10637379" cy="489585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buClr>
                <a:schemeClr val="accent2"/>
              </a:buClr>
              <a:defRPr sz="16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buClr>
                <a:schemeClr val="accent2"/>
              </a:buClr>
              <a:defRPr sz="1400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buClr>
                <a:schemeClr val="accent2"/>
              </a:buClr>
              <a:defRPr sz="14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buClr>
                <a:schemeClr val="accent2"/>
              </a:buClr>
              <a:defRPr sz="14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buClr>
                <a:schemeClr val="accent2"/>
              </a:buCl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Slide Number Placeholder 4">
            <a:extLst>
              <a:ext uri="{FF2B5EF4-FFF2-40B4-BE49-F238E27FC236}">
                <a16:creationId xmlns:a16="http://schemas.microsoft.com/office/drawing/2014/main" id="{AC207DD3-922E-5743-8C10-47638F13FE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78226" y="6339057"/>
            <a:ext cx="609600" cy="365125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fld id="{31FEFF75-79D2-EE46-877B-299D1510E68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E0A8B42C-EC6A-B743-BB74-8717A611D39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75046" y="6236333"/>
            <a:ext cx="1517479" cy="570573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2D76F924-4533-6447-8EA4-CD0397FF3DA9}"/>
              </a:ext>
            </a:extLst>
          </p:cNvPr>
          <p:cNvSpPr/>
          <p:nvPr/>
        </p:nvSpPr>
        <p:spPr>
          <a:xfrm>
            <a:off x="0" y="1033040"/>
            <a:ext cx="430836" cy="5824960"/>
          </a:xfrm>
          <a:prstGeom prst="rect">
            <a:avLst/>
          </a:prstGeom>
          <a:solidFill>
            <a:schemeClr val="bg1">
              <a:lumMod val="20000"/>
              <a:lumOff val="8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07DA4105-6A84-E64E-BEBD-4E1944041F6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9449" y="116957"/>
            <a:ext cx="10637384" cy="905449"/>
          </a:xfrm>
        </p:spPr>
        <p:txBody>
          <a:bodyPr lIns="91440" rIns="0" anchor="ctr">
            <a:noAutofit/>
          </a:bodyPr>
          <a:lstStyle>
            <a:lvl1pPr algn="l">
              <a:defRPr sz="2800" b="1" i="0" cap="none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15EF924D-23E6-D244-A1B7-E762C020256B}"/>
              </a:ext>
            </a:extLst>
          </p:cNvPr>
          <p:cNvCxnSpPr>
            <a:cxnSpLocks/>
          </p:cNvCxnSpPr>
          <p:nvPr/>
        </p:nvCxnSpPr>
        <p:spPr>
          <a:xfrm>
            <a:off x="430836" y="0"/>
            <a:ext cx="0" cy="6858000"/>
          </a:xfrm>
          <a:prstGeom prst="line">
            <a:avLst/>
          </a:prstGeom>
          <a:ln w="6350" cap="rnd">
            <a:solidFill>
              <a:schemeClr val="bg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0A75A2DF-7457-2DFA-9581-B49034289DA6}"/>
              </a:ext>
            </a:extLst>
          </p:cNvPr>
          <p:cNvSpPr/>
          <p:nvPr/>
        </p:nvSpPr>
        <p:spPr>
          <a:xfrm>
            <a:off x="4948891" y="6463190"/>
            <a:ext cx="2294218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900" b="0" i="1" dirty="0" err="1">
                <a:solidFill>
                  <a:schemeClr val="bg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BeiGene</a:t>
            </a:r>
            <a:r>
              <a:rPr lang="en-US" sz="900" b="0" i="1" dirty="0">
                <a:solidFill>
                  <a:schemeClr val="bg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Confidential. Internal Use Only. </a:t>
            </a:r>
            <a:endParaRPr lang="en-US" sz="90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03CDC80B-014C-6B04-C205-F1779CDBAFEC}"/>
              </a:ext>
            </a:extLst>
          </p:cNvPr>
          <p:cNvCxnSpPr>
            <a:cxnSpLocks/>
          </p:cNvCxnSpPr>
          <p:nvPr userDrawn="1"/>
        </p:nvCxnSpPr>
        <p:spPr>
          <a:xfrm>
            <a:off x="0" y="1036177"/>
            <a:ext cx="12192000" cy="0"/>
          </a:xfrm>
          <a:prstGeom prst="line">
            <a:avLst/>
          </a:prstGeom>
          <a:ln w="6350" cap="rnd">
            <a:solidFill>
              <a:schemeClr val="bg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phic 2">
            <a:extLst>
              <a:ext uri="{FF2B5EF4-FFF2-40B4-BE49-F238E27FC236}">
                <a16:creationId xmlns:a16="http://schemas.microsoft.com/office/drawing/2014/main" id="{8261DA90-9997-CBD3-ADB3-B67CBF2C4EA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75046" y="6236333"/>
            <a:ext cx="1517479" cy="570573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692A6030-B47E-F8D0-8B34-11EA22689FD0}"/>
              </a:ext>
            </a:extLst>
          </p:cNvPr>
          <p:cNvSpPr/>
          <p:nvPr userDrawn="1"/>
        </p:nvSpPr>
        <p:spPr>
          <a:xfrm>
            <a:off x="0" y="1033040"/>
            <a:ext cx="430836" cy="5824960"/>
          </a:xfrm>
          <a:prstGeom prst="rect">
            <a:avLst/>
          </a:prstGeom>
          <a:solidFill>
            <a:schemeClr val="bg1">
              <a:lumMod val="20000"/>
              <a:lumOff val="8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A844104-392B-1800-B9A8-900D66B538FE}"/>
              </a:ext>
            </a:extLst>
          </p:cNvPr>
          <p:cNvCxnSpPr>
            <a:cxnSpLocks/>
          </p:cNvCxnSpPr>
          <p:nvPr userDrawn="1"/>
        </p:nvCxnSpPr>
        <p:spPr>
          <a:xfrm>
            <a:off x="430836" y="0"/>
            <a:ext cx="0" cy="6858000"/>
          </a:xfrm>
          <a:prstGeom prst="line">
            <a:avLst/>
          </a:prstGeom>
          <a:ln w="6350" cap="rnd">
            <a:solidFill>
              <a:schemeClr val="bg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6F403426-47AA-2CCC-F277-F7F4DEA44B38}"/>
              </a:ext>
            </a:extLst>
          </p:cNvPr>
          <p:cNvSpPr/>
          <p:nvPr userDrawn="1"/>
        </p:nvSpPr>
        <p:spPr>
          <a:xfrm>
            <a:off x="4948891" y="6463190"/>
            <a:ext cx="2294218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900" b="0" i="1" dirty="0" err="1">
                <a:solidFill>
                  <a:schemeClr val="bg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BeiGene</a:t>
            </a:r>
            <a:r>
              <a:rPr lang="en-US" sz="900" b="0" i="1" dirty="0">
                <a:solidFill>
                  <a:schemeClr val="bg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Confidential. Internal Use Only. </a:t>
            </a:r>
            <a:endParaRPr lang="en-US" sz="900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C65FDBDE-EAE7-8741-1436-FE79FC1D576A}"/>
              </a:ext>
            </a:extLst>
          </p:cNvPr>
          <p:cNvSpPr txBox="1"/>
          <p:nvPr userDrawn="1"/>
        </p:nvSpPr>
        <p:spPr>
          <a:xfrm>
            <a:off x="739448" y="6371711"/>
            <a:ext cx="26981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b="1" i="1">
                <a:solidFill>
                  <a:schemeClr val="bg1">
                    <a:lumMod val="60000"/>
                    <a:lumOff val="40000"/>
                  </a:schemeClr>
                </a:solidFill>
              </a:rPr>
              <a:t>Do Right Things Right!</a:t>
            </a:r>
          </a:p>
        </p:txBody>
      </p:sp>
    </p:spTree>
    <p:extLst>
      <p:ext uri="{BB962C8B-B14F-4D97-AF65-F5344CB8AC3E}">
        <p14:creationId xmlns:p14="http://schemas.microsoft.com/office/powerpoint/2010/main" val="2335874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643597"/>
            <a:ext cx="9144000" cy="594359"/>
          </a:xfrm>
        </p:spPr>
        <p:txBody>
          <a:bodyPr anchor="b">
            <a:noAutofit/>
          </a:bodyPr>
          <a:lstStyle>
            <a:lvl1pPr algn="ctr">
              <a:lnSpc>
                <a:spcPts val="4300"/>
              </a:lnSpc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1252727"/>
            <a:ext cx="9144000" cy="322848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524001" y="2489201"/>
            <a:ext cx="4567239" cy="40874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  <a:latin typeface="Lato" panose="020F0502020204030203" pitchFamily="34" charset="0"/>
              </a:defRPr>
            </a:lvl1pPr>
          </a:lstStyle>
          <a:p>
            <a:pPr lvl="0"/>
            <a:r>
              <a:rPr lang="en-US"/>
              <a:t>Click to edit Content Heading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524000" y="3249737"/>
            <a:ext cx="3335339" cy="2068513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ts val="1400"/>
              </a:lnSpc>
              <a:buNone/>
              <a:defRPr sz="105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 styles </a:t>
            </a:r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aleh</a:t>
            </a:r>
            <a:r>
              <a:rPr lang="en-US"/>
              <a:t> </a:t>
            </a:r>
            <a:r>
              <a:rPr lang="en-US" err="1"/>
              <a:t>pue</a:t>
            </a:r>
            <a:r>
              <a:rPr lang="en-US"/>
              <a:t> h </a:t>
            </a:r>
            <a:r>
              <a:rPr lang="en-US" err="1"/>
              <a:t>om</a:t>
            </a:r>
            <a:r>
              <a:rPr lang="en-US"/>
              <a:t> </a:t>
            </a:r>
            <a:r>
              <a:rPr lang="en-US" err="1"/>
              <a:t>alah</a:t>
            </a:r>
            <a:r>
              <a:rPr lang="en-US"/>
              <a:t> </a:t>
            </a:r>
            <a:r>
              <a:rPr lang="en-US" err="1"/>
              <a:t>hai</a:t>
            </a:r>
            <a:r>
              <a:rPr lang="en-US"/>
              <a:t> </a:t>
            </a:r>
            <a:r>
              <a:rPr lang="en-US" err="1"/>
              <a:t>meutuwah</a:t>
            </a:r>
            <a:r>
              <a:rPr lang="en-US"/>
              <a:t> </a:t>
            </a:r>
            <a:r>
              <a:rPr lang="en-US" err="1"/>
              <a:t>ka</a:t>
            </a:r>
            <a:r>
              <a:rPr lang="en-US"/>
              <a:t> </a:t>
            </a:r>
            <a:r>
              <a:rPr lang="en-US" err="1"/>
              <a:t>abeh</a:t>
            </a:r>
            <a:r>
              <a:rPr lang="en-US"/>
              <a:t> </a:t>
            </a:r>
            <a:r>
              <a:rPr lang="en-US" err="1"/>
              <a:t>cara</a:t>
            </a:r>
            <a:r>
              <a:rPr lang="en-US"/>
              <a:t> </a:t>
            </a:r>
            <a:r>
              <a:rPr lang="en-US" err="1"/>
              <a:t>mita</a:t>
            </a:r>
            <a:r>
              <a:rPr lang="en-US"/>
              <a:t> </a:t>
            </a:r>
            <a:r>
              <a:rPr lang="en-US" err="1"/>
              <a:t>peng</a:t>
            </a:r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7404102" y="3249736"/>
            <a:ext cx="3263900" cy="2068513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ts val="1400"/>
              </a:lnSpc>
              <a:buFontTx/>
              <a:buNone/>
              <a:defRPr sz="1051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 styles </a:t>
            </a:r>
            <a:r>
              <a:rPr lang="en-US" err="1"/>
              <a:t>lorem</a:t>
            </a:r>
            <a:r>
              <a:rPr lang="en-US"/>
              <a:t> </a:t>
            </a:r>
            <a:r>
              <a:rPr lang="en-US" err="1"/>
              <a:t>ipsum</a:t>
            </a:r>
            <a:r>
              <a:rPr lang="en-US"/>
              <a:t>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aleh</a:t>
            </a:r>
            <a:r>
              <a:rPr lang="en-US"/>
              <a:t> </a:t>
            </a:r>
            <a:r>
              <a:rPr lang="en-US" err="1"/>
              <a:t>pue</a:t>
            </a:r>
            <a:r>
              <a:rPr lang="en-US"/>
              <a:t> h </a:t>
            </a:r>
            <a:r>
              <a:rPr lang="en-US" err="1"/>
              <a:t>om</a:t>
            </a:r>
            <a:r>
              <a:rPr lang="en-US"/>
              <a:t> </a:t>
            </a:r>
            <a:r>
              <a:rPr lang="en-US" err="1"/>
              <a:t>alah</a:t>
            </a:r>
            <a:r>
              <a:rPr lang="en-US"/>
              <a:t> </a:t>
            </a:r>
            <a:r>
              <a:rPr lang="en-US" err="1"/>
              <a:t>hai</a:t>
            </a:r>
            <a:r>
              <a:rPr lang="en-US"/>
              <a:t> </a:t>
            </a:r>
            <a:r>
              <a:rPr lang="en-US" err="1"/>
              <a:t>meutuwah</a:t>
            </a:r>
            <a:r>
              <a:rPr lang="en-US"/>
              <a:t> </a:t>
            </a:r>
            <a:r>
              <a:rPr lang="en-US" err="1"/>
              <a:t>ka</a:t>
            </a:r>
            <a:r>
              <a:rPr lang="en-US"/>
              <a:t> </a:t>
            </a:r>
            <a:r>
              <a:rPr lang="en-US" err="1"/>
              <a:t>abeh</a:t>
            </a:r>
            <a:r>
              <a:rPr lang="en-US"/>
              <a:t> </a:t>
            </a:r>
            <a:r>
              <a:rPr lang="en-US" err="1"/>
              <a:t>cara</a:t>
            </a:r>
            <a:r>
              <a:rPr lang="en-US"/>
              <a:t> </a:t>
            </a:r>
            <a:r>
              <a:rPr lang="en-US" err="1"/>
              <a:t>mita</a:t>
            </a:r>
            <a:r>
              <a:rPr lang="en-US"/>
              <a:t> </a:t>
            </a:r>
            <a:r>
              <a:rPr lang="en-US" err="1"/>
              <a:t>peng</a:t>
            </a:r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7404101" y="2489201"/>
            <a:ext cx="3263900" cy="408745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800">
                <a:solidFill>
                  <a:schemeClr val="bg1">
                    <a:lumMod val="95000"/>
                  </a:schemeClr>
                </a:solidFill>
                <a:latin typeface="Lato" panose="020F050202020403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9149311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slow" advTm="2000">
        <p15:prstTrans prst="peelOff"/>
      </p:transition>
    </mc:Choice>
    <mc:Fallback xmlns="">
      <p:transition spd="slow" advTm="2000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ith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17">
            <a:extLst>
              <a:ext uri="{FF2B5EF4-FFF2-40B4-BE49-F238E27FC236}">
                <a16:creationId xmlns:a16="http://schemas.microsoft.com/office/drawing/2014/main" id="{7B7F3E19-2F40-4654-A4AB-4507AA7B1E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29484" y="6408741"/>
            <a:ext cx="48894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A8E585-845B-497D-BF2F-352F8654D138}" type="slidenum">
              <a:rPr lang="en-US" altLang="en-US"/>
              <a:pPr>
                <a:defRPr/>
              </a:pPr>
              <a:t>‹#›</a:t>
            </a:fld>
            <a:endParaRPr lang="en-US" altLang="en-US" sz="1100"/>
          </a:p>
        </p:txBody>
      </p:sp>
      <p:sp>
        <p:nvSpPr>
          <p:cNvPr id="6" name="Title 6">
            <a:extLst>
              <a:ext uri="{FF2B5EF4-FFF2-40B4-BE49-F238E27FC236}">
                <a16:creationId xmlns:a16="http://schemas.microsoft.com/office/drawing/2014/main" id="{D7339F21-8FDE-454B-8F10-CC2B36F76B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62200" y="304800"/>
            <a:ext cx="9245601" cy="1143000"/>
          </a:xfrm>
          <a:prstGeom prst="rect">
            <a:avLst/>
          </a:prstGeom>
        </p:spPr>
        <p:txBody>
          <a:bodyPr rtlCol="0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113375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40D321E-CF92-4C60-9E64-320A7FD386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95" imgH="396" progId="TCLayout.ActiveDocument.1">
                  <p:embed/>
                </p:oleObj>
              </mc:Choice>
              <mc:Fallback>
                <p:oleObj name="think-cell Slide" r:id="rId12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40D321E-CF92-4C60-9E64-320A7FD386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/>
          <p:cNvSpPr txBox="1"/>
          <p:nvPr userDrawn="1"/>
        </p:nvSpPr>
        <p:spPr>
          <a:xfrm>
            <a:off x="10644089" y="6450671"/>
            <a:ext cx="12012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0E9DA30-F077-484F-97D6-ABE9109C3D7F}" type="slidenum">
              <a:rPr lang="en-US" sz="1200" smtClean="0">
                <a:solidFill>
                  <a:schemeClr val="accent3"/>
                </a:solidFill>
                <a:latin typeface="+mn-lt"/>
              </a:rPr>
              <a:pPr algn="r"/>
              <a:t>‹#›</a:t>
            </a:fld>
            <a:endParaRPr lang="en-US" sz="1200">
              <a:solidFill>
                <a:schemeClr val="accent3"/>
              </a:solidFill>
              <a:latin typeface="+mn-lt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2245" y="99553"/>
            <a:ext cx="1638156" cy="307776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>
          <a:xfrm>
            <a:off x="5321006" y="6663011"/>
            <a:ext cx="1549997" cy="194990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algn="ctr"/>
            <a:r>
              <a:rPr lang="en-US" sz="667" dirty="0" err="1">
                <a:solidFill>
                  <a:schemeClr val="tx2"/>
                </a:solidFill>
                <a:effectLst/>
                <a:latin typeface="+mn-lt"/>
                <a:ea typeface="Calibri" panose="020F0502020204030204" pitchFamily="34" charset="0"/>
              </a:rPr>
              <a:t>BeiGene</a:t>
            </a:r>
            <a:r>
              <a:rPr lang="en-US" sz="667" dirty="0">
                <a:solidFill>
                  <a:schemeClr val="tx2"/>
                </a:solidFill>
                <a:effectLst/>
                <a:latin typeface="+mn-lt"/>
                <a:ea typeface="Calibri" panose="020F0502020204030204" pitchFamily="34" charset="0"/>
              </a:rPr>
              <a:t> – Proprietary &amp; Confidential</a:t>
            </a:r>
            <a:endParaRPr lang="en-US" sz="667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5" name="Title Placeholder 4">
            <a:extLst>
              <a:ext uri="{FF2B5EF4-FFF2-40B4-BE49-F238E27FC236}">
                <a16:creationId xmlns:a16="http://schemas.microsoft.com/office/drawing/2014/main" id="{329BA3CE-BF04-DF4F-8522-4DB42DF1E2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6185"/>
            <a:ext cx="10515600" cy="132503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726575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5" r:id="rId1"/>
    <p:sldLayoutId id="2147484442" r:id="rId2"/>
    <p:sldLayoutId id="2147484440" r:id="rId3"/>
    <p:sldLayoutId id="2147484458" r:id="rId4"/>
    <p:sldLayoutId id="2147484437" r:id="rId5"/>
    <p:sldLayoutId id="2147484428" r:id="rId6"/>
    <p:sldLayoutId id="2147484462" r:id="rId7"/>
    <p:sldLayoutId id="2147484463" r:id="rId8"/>
    <p:sldLayoutId id="2147484464" r:id="rId9"/>
  </p:sldLayoutIdLst>
  <p:hf hdr="0" ftr="0" dt="0"/>
  <p:txStyles>
    <p:titleStyle>
      <a:lvl1pPr algn="l" defTabSz="914378" rtl="0" eaLnBrk="1" latinLnBrk="0" hangingPunct="1">
        <a:lnSpc>
          <a:spcPct val="90000"/>
        </a:lnSpc>
        <a:spcBef>
          <a:spcPct val="0"/>
        </a:spcBef>
        <a:buNone/>
        <a:defRPr sz="2400" b="0" kern="1200" cap="none" spc="40" baseline="0">
          <a:solidFill>
            <a:schemeClr val="tx2"/>
          </a:solidFill>
          <a:latin typeface="Gill Sans MT" panose="020B0502020104020203" pitchFamily="34" charset="0"/>
          <a:ea typeface="+mj-ea"/>
          <a:cs typeface="+mj-cs"/>
        </a:defRPr>
      </a:lvl1pPr>
    </p:titleStyle>
    <p:bodyStyle>
      <a:lvl1pPr marL="182876" indent="-182876" algn="l" defTabSz="914378" rtl="0" eaLnBrk="1" latinLnBrk="0" hangingPunct="1">
        <a:lnSpc>
          <a:spcPct val="90000"/>
        </a:lnSpc>
        <a:spcBef>
          <a:spcPts val="1000"/>
        </a:spcBef>
        <a:buClr>
          <a:schemeClr val="accent3"/>
        </a:buClr>
        <a:buFont typeface="Tahoma" panose="020B0604030504040204" pitchFamily="34" charset="0"/>
        <a:buChar char="‣"/>
        <a:defRPr sz="1200" kern="1200">
          <a:solidFill>
            <a:schemeClr val="tx2"/>
          </a:solidFill>
          <a:latin typeface="Gill Sans MT" panose="020B0502020104020203" pitchFamily="34" charset="0"/>
          <a:ea typeface="+mn-ea"/>
          <a:cs typeface="+mn-cs"/>
        </a:defRPr>
      </a:lvl1pPr>
      <a:lvl2pPr marL="457189" indent="-182876" algn="l" defTabSz="914378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Tahoma" panose="020B0604030504040204" pitchFamily="34" charset="0"/>
        <a:buChar char="‣"/>
        <a:defRPr sz="1100" kern="1200">
          <a:solidFill>
            <a:schemeClr val="tx2"/>
          </a:solidFill>
          <a:latin typeface="Gill Sans MT" panose="020B0502020104020203" pitchFamily="34" charset="0"/>
          <a:ea typeface="+mn-ea"/>
          <a:cs typeface="+mn-cs"/>
        </a:defRPr>
      </a:lvl2pPr>
      <a:lvl3pPr marL="731502" indent="-182876" algn="l" defTabSz="914378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Tahoma" panose="020B0604030504040204" pitchFamily="34" charset="0"/>
        <a:buChar char="‣"/>
        <a:defRPr sz="1050" kern="1200">
          <a:solidFill>
            <a:schemeClr val="tx2"/>
          </a:solidFill>
          <a:latin typeface="Gill Sans MT" panose="020B0502020104020203" pitchFamily="34" charset="0"/>
          <a:ea typeface="+mn-ea"/>
          <a:cs typeface="+mn-cs"/>
        </a:defRPr>
      </a:lvl3pPr>
      <a:lvl4pPr marL="1005815" indent="-182876" algn="l" defTabSz="914378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Tahoma" panose="020B0604030504040204" pitchFamily="34" charset="0"/>
        <a:buChar char="‣"/>
        <a:defRPr sz="1000" kern="1200">
          <a:solidFill>
            <a:schemeClr val="tx2"/>
          </a:solidFill>
          <a:latin typeface="Gill Sans MT" panose="020B0502020104020203" pitchFamily="34" charset="0"/>
          <a:ea typeface="+mn-ea"/>
          <a:cs typeface="+mn-cs"/>
        </a:defRPr>
      </a:lvl4pPr>
      <a:lvl5pPr marL="1280128" indent="-182876" algn="l" defTabSz="914378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Tahoma" panose="020B0604030504040204" pitchFamily="34" charset="0"/>
        <a:buChar char="‣"/>
        <a:defRPr sz="1000" kern="1200">
          <a:solidFill>
            <a:schemeClr val="tx2"/>
          </a:solidFill>
          <a:latin typeface="Gill Sans MT" panose="020B0502020104020203" pitchFamily="34" charset="0"/>
          <a:ea typeface="+mn-ea"/>
          <a:cs typeface="+mn-cs"/>
        </a:defRPr>
      </a:lvl5pPr>
      <a:lvl6pPr marL="2514537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userDrawn="1">
          <p15:clr>
            <a:srgbClr val="A4A3A4"/>
          </p15:clr>
        </p15:guide>
        <p15:guide id="2" orient="horz" pos="4125" userDrawn="1">
          <p15:clr>
            <a:srgbClr val="A4A3A4"/>
          </p15:clr>
        </p15:guide>
        <p15:guide id="3" orient="horz" pos="4320" userDrawn="1">
          <p15:clr>
            <a:srgbClr val="A4A3A4"/>
          </p15:clr>
        </p15:guide>
        <p15:guide id="4" userDrawn="1">
          <p15:clr>
            <a:srgbClr val="A4A3A4"/>
          </p15:clr>
        </p15:guide>
        <p15:guide id="5" pos="7680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4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27.emf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45.jpg"/><Relationship Id="rId7" Type="http://schemas.openxmlformats.org/officeDocument/2006/relationships/image" Target="../media/image4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microsoft.com/office/2007/relationships/hdphoto" Target="../media/hdphoto1.wdp"/><Relationship Id="rId11" Type="http://schemas.openxmlformats.org/officeDocument/2006/relationships/image" Target="../media/image51.png"/><Relationship Id="rId5" Type="http://schemas.openxmlformats.org/officeDocument/2006/relationships/image" Target="../media/image47.png"/><Relationship Id="rId10" Type="http://schemas.openxmlformats.org/officeDocument/2006/relationships/image" Target="../media/image50.jpg"/><Relationship Id="rId4" Type="http://schemas.openxmlformats.org/officeDocument/2006/relationships/image" Target="../media/image46.jpg"/><Relationship Id="rId9" Type="http://schemas.microsoft.com/office/2007/relationships/hdphoto" Target="../media/hdphoto2.wdp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jpg"/><Relationship Id="rId13" Type="http://schemas.openxmlformats.org/officeDocument/2006/relationships/image" Target="../media/image64.png"/><Relationship Id="rId3" Type="http://schemas.openxmlformats.org/officeDocument/2006/relationships/image" Target="../media/image54.png"/><Relationship Id="rId7" Type="http://schemas.openxmlformats.org/officeDocument/2006/relationships/image" Target="../media/image58.png"/><Relationship Id="rId12" Type="http://schemas.openxmlformats.org/officeDocument/2006/relationships/image" Target="../media/image63.png"/><Relationship Id="rId17" Type="http://schemas.openxmlformats.org/officeDocument/2006/relationships/image" Target="../media/image68.png"/><Relationship Id="rId2" Type="http://schemas.openxmlformats.org/officeDocument/2006/relationships/image" Target="../media/image53.png"/><Relationship Id="rId16" Type="http://schemas.openxmlformats.org/officeDocument/2006/relationships/image" Target="../media/image67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7.png"/><Relationship Id="rId11" Type="http://schemas.openxmlformats.org/officeDocument/2006/relationships/image" Target="../media/image62.jpg"/><Relationship Id="rId5" Type="http://schemas.openxmlformats.org/officeDocument/2006/relationships/image" Target="../media/image56.png"/><Relationship Id="rId15" Type="http://schemas.openxmlformats.org/officeDocument/2006/relationships/image" Target="../media/image66.png"/><Relationship Id="rId10" Type="http://schemas.openxmlformats.org/officeDocument/2006/relationships/image" Target="../media/image61.png"/><Relationship Id="rId4" Type="http://schemas.openxmlformats.org/officeDocument/2006/relationships/image" Target="../media/image55.png"/><Relationship Id="rId9" Type="http://schemas.openxmlformats.org/officeDocument/2006/relationships/image" Target="../media/image60.png"/><Relationship Id="rId14" Type="http://schemas.openxmlformats.org/officeDocument/2006/relationships/image" Target="../media/image65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2.deloitte.com/content/dam/Deloitte/us/Documents/technology/us-deloitte%E2%80%99s-automated-clinical-life-cycle-management-product.pdf" TargetMode="External"/><Relationship Id="rId2" Type="http://schemas.openxmlformats.org/officeDocument/2006/relationships/hyperlink" Target="https://www.youtube.com/watch?v=uk-4sYb0Lk8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1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hyperlink" Target="https://www.youtube.com/watch?v=-Ds1xV7M2gI" TargetMode="Externa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.png"/><Relationship Id="rId5" Type="http://schemas.openxmlformats.org/officeDocument/2006/relationships/image" Target="../media/image13.jpg"/><Relationship Id="rId4" Type="http://schemas.openxmlformats.org/officeDocument/2006/relationships/hyperlink" Target="https://www.youtube.com/watch?v=jKFV7qjWaD4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en.wikipedia.org/wiki/Deep_learning" TargetMode="External"/><Relationship Id="rId3" Type="http://schemas.openxmlformats.org/officeDocument/2006/relationships/image" Target="../media/image16.jpg"/><Relationship Id="rId7" Type="http://schemas.openxmlformats.org/officeDocument/2006/relationships/image" Target="../media/image20.jp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9.jpg"/><Relationship Id="rId5" Type="http://schemas.openxmlformats.org/officeDocument/2006/relationships/image" Target="../media/image18.jpg"/><Relationship Id="rId10" Type="http://schemas.openxmlformats.org/officeDocument/2006/relationships/image" Target="../media/image22.jpg"/><Relationship Id="rId4" Type="http://schemas.openxmlformats.org/officeDocument/2006/relationships/image" Target="../media/image17.jpg"/><Relationship Id="rId9" Type="http://schemas.openxmlformats.org/officeDocument/2006/relationships/image" Target="../media/image21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4" Type="http://schemas.openxmlformats.org/officeDocument/2006/relationships/image" Target="../media/image27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hyperlink" Target="https://www.microsoft.com/en-us/videoplayer/embed/RW13t3E" TargetMode="Externa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>
            <a:spLocks noGrp="1"/>
          </p:cNvSpPr>
          <p:nvPr>
            <p:ph type="ctrTitle"/>
          </p:nvPr>
        </p:nvSpPr>
        <p:spPr>
          <a:xfrm>
            <a:off x="511724" y="2590192"/>
            <a:ext cx="10384876" cy="996427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0"/>
              </a:spcBef>
            </a:pPr>
            <a:r>
              <a:rPr lang="en-US" altLang="zh-CN" sz="3200" b="1" dirty="0">
                <a:effectLst/>
              </a:rPr>
              <a:t>Leveraging R for Real-Time Data Analysis and Reporting in the AI+HI Paradigm</a:t>
            </a:r>
            <a:endParaRPr lang="it-IT" sz="3200" dirty="0"/>
          </a:p>
        </p:txBody>
      </p:sp>
      <p:sp>
        <p:nvSpPr>
          <p:cNvPr id="4" name="object 4"/>
          <p:cNvSpPr txBox="1"/>
          <p:nvPr/>
        </p:nvSpPr>
        <p:spPr>
          <a:xfrm>
            <a:off x="395286" y="4912963"/>
            <a:ext cx="5623774" cy="1226618"/>
          </a:xfrm>
          <a:prstGeom prst="rect">
            <a:avLst/>
          </a:prstGeom>
        </p:spPr>
        <p:txBody>
          <a:bodyPr vert="horz" wrap="square" lIns="0" tIns="13779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85"/>
              </a:spcBef>
            </a:pPr>
            <a:r>
              <a:rPr sz="1800" b="1" spc="55" dirty="0">
                <a:solidFill>
                  <a:schemeClr val="accent2">
                    <a:lumMod val="40000"/>
                    <a:lumOff val="60000"/>
                  </a:schemeClr>
                </a:solidFill>
                <a:latin typeface="Times New Roman"/>
                <a:cs typeface="Times New Roman"/>
              </a:rPr>
              <a:t>Hao</a:t>
            </a:r>
            <a:r>
              <a:rPr sz="1800" b="1" spc="-35" dirty="0">
                <a:solidFill>
                  <a:schemeClr val="accent2">
                    <a:lumMod val="40000"/>
                    <a:lumOff val="60000"/>
                  </a:schemeClr>
                </a:solidFill>
                <a:latin typeface="Times New Roman"/>
                <a:cs typeface="Times New Roman"/>
              </a:rPr>
              <a:t> </a:t>
            </a:r>
            <a:r>
              <a:rPr sz="1800" b="1" spc="40" dirty="0">
                <a:solidFill>
                  <a:schemeClr val="accent2">
                    <a:lumMod val="40000"/>
                    <a:lumOff val="60000"/>
                  </a:schemeClr>
                </a:solidFill>
                <a:latin typeface="Times New Roman"/>
                <a:cs typeface="Times New Roman"/>
              </a:rPr>
              <a:t>Chen</a:t>
            </a:r>
            <a:endParaRPr sz="1800" dirty="0">
              <a:solidFill>
                <a:schemeClr val="accent2">
                  <a:lumMod val="40000"/>
                  <a:lumOff val="60000"/>
                </a:schemeClr>
              </a:solidFill>
              <a:latin typeface="Times New Roman"/>
              <a:cs typeface="Times New Roman"/>
            </a:endParaRPr>
          </a:p>
          <a:p>
            <a:pPr marL="12700">
              <a:lnSpc>
                <a:spcPct val="100000"/>
              </a:lnSpc>
              <a:spcBef>
                <a:spcPts val="985"/>
              </a:spcBef>
            </a:pPr>
            <a:r>
              <a:rPr lang="en-US" altLang="zh-CN" sz="1800" b="1" spc="35" dirty="0">
                <a:solidFill>
                  <a:schemeClr val="accent2">
                    <a:lumMod val="40000"/>
                    <a:lumOff val="60000"/>
                  </a:schemeClr>
                </a:solidFill>
                <a:latin typeface="Times New Roman"/>
                <a:cs typeface="Times New Roman"/>
              </a:rPr>
              <a:t>Data Intelligence, Scientific Programming, Beigene</a:t>
            </a:r>
          </a:p>
          <a:p>
            <a:pPr marL="12700">
              <a:lnSpc>
                <a:spcPct val="100000"/>
              </a:lnSpc>
              <a:spcBef>
                <a:spcPts val="985"/>
              </a:spcBef>
            </a:pPr>
            <a:r>
              <a:rPr lang="en-US" altLang="zh-CN" sz="1800" spc="65" dirty="0">
                <a:solidFill>
                  <a:schemeClr val="accent2">
                    <a:lumMod val="40000"/>
                    <a:lumOff val="60000"/>
                  </a:schemeClr>
                </a:solidFill>
                <a:latin typeface="Times New Roman"/>
                <a:cs typeface="Times New Roman"/>
              </a:rPr>
              <a:t>Mar</a:t>
            </a:r>
            <a:r>
              <a:rPr lang="en-US" sz="1800" spc="65" dirty="0">
                <a:solidFill>
                  <a:schemeClr val="accent2">
                    <a:lumMod val="40000"/>
                    <a:lumOff val="60000"/>
                  </a:schemeClr>
                </a:solidFill>
                <a:latin typeface="Times New Roman"/>
                <a:cs typeface="Times New Roman"/>
              </a:rPr>
              <a:t> 2024</a:t>
            </a:r>
            <a:endParaRPr sz="1800" dirty="0">
              <a:solidFill>
                <a:schemeClr val="accent2">
                  <a:lumMod val="40000"/>
                  <a:lumOff val="60000"/>
                </a:schemeClr>
              </a:solidFill>
              <a:latin typeface="Times New Roman"/>
              <a:cs typeface="Times New Roman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表格 7">
            <a:extLst>
              <a:ext uri="{FF2B5EF4-FFF2-40B4-BE49-F238E27FC236}">
                <a16:creationId xmlns:a16="http://schemas.microsoft.com/office/drawing/2014/main" id="{B14D994D-E90A-BE40-7E4D-E38556CE7E8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9416527"/>
              </p:ext>
            </p:extLst>
          </p:nvPr>
        </p:nvGraphicFramePr>
        <p:xfrm>
          <a:off x="990599" y="1318758"/>
          <a:ext cx="10734676" cy="5323977"/>
        </p:xfrm>
        <a:graphic>
          <a:graphicData uri="http://schemas.openxmlformats.org/drawingml/2006/table">
            <a:tbl>
              <a:tblPr/>
              <a:tblGrid>
                <a:gridCol w="667647">
                  <a:extLst>
                    <a:ext uri="{9D8B030D-6E8A-4147-A177-3AD203B41FA5}">
                      <a16:colId xmlns:a16="http://schemas.microsoft.com/office/drawing/2014/main" val="4085268419"/>
                    </a:ext>
                  </a:extLst>
                </a:gridCol>
                <a:gridCol w="3452091">
                  <a:extLst>
                    <a:ext uri="{9D8B030D-6E8A-4147-A177-3AD203B41FA5}">
                      <a16:colId xmlns:a16="http://schemas.microsoft.com/office/drawing/2014/main" val="327012241"/>
                    </a:ext>
                  </a:extLst>
                </a:gridCol>
                <a:gridCol w="6614938">
                  <a:extLst>
                    <a:ext uri="{9D8B030D-6E8A-4147-A177-3AD203B41FA5}">
                      <a16:colId xmlns:a16="http://schemas.microsoft.com/office/drawing/2014/main" val="3454994331"/>
                    </a:ext>
                  </a:extLst>
                </a:gridCol>
              </a:tblGrid>
              <a:tr h="856449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2000" b="1" i="0">
                          <a:solidFill>
                            <a:srgbClr val="FFFFFF"/>
                          </a:solidFill>
                          <a:effectLst/>
                        </a:rPr>
                        <a:t>#</a:t>
                      </a:r>
                    </a:p>
                  </a:txBody>
                  <a:tcPr marL="121920" marR="121920" marT="60960" marB="60960" anchor="ctr">
                    <a:lnL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1C5E8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2000" b="1" i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r>
                        <a:rPr lang="en-US" altLang="zh-CN" sz="2000" b="1" i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eps</a:t>
                      </a:r>
                      <a:endParaRPr lang="en-US" sz="2000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121920" marR="121920" marT="60960" marB="60960" anchor="ctr">
                    <a:lnL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1C5E8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2000" b="1" i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​Note</a:t>
                      </a:r>
                      <a:endParaRPr lang="en-US" sz="2000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121920" marR="121920" marT="60960" marB="60960" anchor="ctr">
                    <a:lnL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1C5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1358210"/>
                  </a:ext>
                </a:extLst>
              </a:tr>
              <a:tr h="940536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2400" b="1" i="0">
                          <a:solidFill>
                            <a:srgbClr val="FFFFFF"/>
                          </a:solidFill>
                          <a:effectLst/>
                        </a:rPr>
                        <a:t>1</a:t>
                      </a:r>
                    </a:p>
                  </a:txBody>
                  <a:tcPr marL="121920" marR="121920" marT="60960" marB="60960" anchor="ctr">
                    <a:lnL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1C5E8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altLang="zh-CN" sz="2000" b="0" i="0">
                          <a:solidFill>
                            <a:srgbClr val="333F48"/>
                          </a:solidFill>
                          <a:effectLst/>
                          <a:latin typeface="Arial" panose="020B0604020202020204" pitchFamily="34" charset="0"/>
                        </a:rPr>
                        <a:t>Upload testing data</a:t>
                      </a:r>
                      <a:endParaRPr lang="en-US" sz="2000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121920" marR="121920" marT="60960" marB="60960" anchor="ctr">
                    <a:lnL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1C5E8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altLang="zh-CN" sz="2000" b="0" i="0" kern="1200" dirty="0">
                          <a:solidFill>
                            <a:srgbClr val="333F48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ata analyzed in </a:t>
                      </a:r>
                      <a:r>
                        <a:rPr lang="en-US" altLang="zh-CN" sz="2000" b="0" i="0" kern="1200" dirty="0" err="1">
                          <a:solidFill>
                            <a:srgbClr val="333F48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studio</a:t>
                      </a:r>
                      <a:r>
                        <a:rPr lang="en-US" altLang="zh-CN" sz="2000" b="0" i="0" kern="1200" dirty="0">
                          <a:solidFill>
                            <a:srgbClr val="333F48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Connect server, Metadata analyzed in Azure </a:t>
                      </a:r>
                      <a:r>
                        <a:rPr lang="en-US" altLang="zh-CN" sz="2000" b="0" i="0" kern="1200" dirty="0" err="1">
                          <a:solidFill>
                            <a:srgbClr val="333F48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Openai</a:t>
                      </a:r>
                      <a:r>
                        <a:rPr lang="en-US" altLang="zh-CN" sz="2000" b="0" i="0" kern="1200" dirty="0">
                          <a:solidFill>
                            <a:srgbClr val="333F48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/Databricks</a:t>
                      </a:r>
                      <a:endParaRPr lang="en-US" sz="2000" b="0" i="0" kern="1200" dirty="0">
                        <a:solidFill>
                          <a:srgbClr val="333F48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>
                    <a:lnL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EA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6212605"/>
                  </a:ext>
                </a:extLst>
              </a:tr>
              <a:tr h="940536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2400" b="1" i="0">
                          <a:solidFill>
                            <a:srgbClr val="FFFFFF"/>
                          </a:solidFill>
                          <a:effectLst/>
                        </a:rPr>
                        <a:t>2</a:t>
                      </a:r>
                    </a:p>
                  </a:txBody>
                  <a:tcPr marL="121920" marR="121920" marT="60960" marB="60960" anchor="ctr">
                    <a:lnL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1C5E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378" rtl="0" eaLnBrk="1" fontAlgn="base" latinLnBrk="0" hangingPunct="1"/>
                      <a:r>
                        <a:rPr lang="en-US" sz="2000" b="0" i="0" kern="1200">
                          <a:solidFill>
                            <a:srgbClr val="333F48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Ask your question clearly,</a:t>
                      </a:r>
                    </a:p>
                    <a:p>
                      <a:pPr marL="0" algn="l" defTabSz="914378" rtl="0" eaLnBrk="1" fontAlgn="base" latinLnBrk="0" hangingPunct="1"/>
                      <a:r>
                        <a:rPr lang="en-US" sz="2000" b="0" i="0" kern="1200">
                          <a:solidFill>
                            <a:srgbClr val="333F48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tep by step</a:t>
                      </a:r>
                    </a:p>
                  </a:txBody>
                  <a:tcPr marL="121920" marR="121920" marT="60960" marB="60960" anchor="ctr">
                    <a:lnL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1C5E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378" rtl="0" eaLnBrk="1" fontAlgn="base" latinLnBrk="0" hangingPunct="1"/>
                      <a:r>
                        <a:rPr lang="en-US" sz="2000" b="0" i="0" kern="1200" dirty="0">
                          <a:solidFill>
                            <a:srgbClr val="333F48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tart with simple questions, then proceed step by step</a:t>
                      </a:r>
                    </a:p>
                    <a:p>
                      <a:pPr marL="0" algn="l" defTabSz="914378" rtl="0" eaLnBrk="1" fontAlgn="base" latinLnBrk="0" hangingPunct="1"/>
                      <a:endParaRPr lang="en-US" sz="2000" b="0" i="0" kern="1200" dirty="0">
                        <a:solidFill>
                          <a:srgbClr val="333F48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algn="l" defTabSz="914378" rtl="0" eaLnBrk="1" fontAlgn="base" latinLnBrk="0" hangingPunct="1"/>
                      <a:r>
                        <a:rPr lang="en-US" sz="2000" b="0" i="0" kern="1200" dirty="0">
                          <a:solidFill>
                            <a:srgbClr val="333F48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Begin with GPT-3.5/</a:t>
                      </a:r>
                      <a:r>
                        <a:rPr lang="en-US" sz="2000" b="0" i="0" kern="1200" dirty="0" err="1">
                          <a:solidFill>
                            <a:srgbClr val="333F48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brx</a:t>
                      </a:r>
                      <a:r>
                        <a:rPr lang="en-US" sz="2000" b="0" i="0" kern="1200" dirty="0">
                          <a:solidFill>
                            <a:srgbClr val="333F48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-instruct for cost and efficiency; switch to GPT-4 (which is slow and more expensive) when necessary</a:t>
                      </a:r>
                    </a:p>
                  </a:txBody>
                  <a:tcPr marL="121920" marR="121920" marT="60960" marB="60960" anchor="ctr">
                    <a:lnL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EA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6992172"/>
                  </a:ext>
                </a:extLst>
              </a:tr>
              <a:tr h="940536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2400" b="1" i="0">
                          <a:solidFill>
                            <a:srgbClr val="FFFFFF"/>
                          </a:solidFill>
                          <a:effectLst/>
                        </a:rPr>
                        <a:t>3</a:t>
                      </a:r>
                    </a:p>
                  </a:txBody>
                  <a:tcPr marL="121920" marR="121920" marT="60960" marB="60960" anchor="ctr">
                    <a:lnL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1C5E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378" rtl="0" eaLnBrk="1" fontAlgn="base" latinLnBrk="0" hangingPunct="1"/>
                      <a:r>
                        <a:rPr lang="en-US" altLang="zh-CN" sz="2000" b="0" i="0" kern="1200">
                          <a:solidFill>
                            <a:srgbClr val="333F48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eview, feedback, and iteration</a:t>
                      </a:r>
                      <a:endParaRPr lang="en-US" sz="2000" b="0" i="0" kern="1200">
                        <a:solidFill>
                          <a:srgbClr val="333F48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>
                    <a:lnL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1C5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2000" b="0" i="0" kern="1200">
                          <a:solidFill>
                            <a:srgbClr val="333F48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ontinue to improve by feedback from logs and users (what’s wrong and suggestions for how to improve)</a:t>
                      </a:r>
                    </a:p>
                  </a:txBody>
                  <a:tcPr marL="121920" marR="121920" marT="60960" marB="60960" anchor="ctr">
                    <a:lnL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EA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98157"/>
                  </a:ext>
                </a:extLst>
              </a:tr>
              <a:tr h="940536">
                <a:tc>
                  <a:txBody>
                    <a:bodyPr/>
                    <a:lstStyle/>
                    <a:p>
                      <a:pPr algn="l" rtl="0" fontAlgn="base"/>
                      <a:endParaRPr lang="en-US" sz="2400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121920" marR="121920" marT="60960" marB="60960" anchor="ctr">
                    <a:lnL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1C5E8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altLang="zh-CN" sz="2000" b="1" i="0">
                          <a:solidFill>
                            <a:srgbClr val="FFFFFF"/>
                          </a:solidFill>
                          <a:effectLst/>
                        </a:rPr>
                        <a:t>Restrictions</a:t>
                      </a:r>
                      <a:endParaRPr lang="en-US" sz="2000" b="1" i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121920" marR="121920" marT="60960" marB="60960" anchor="ctr">
                    <a:lnL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1C5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8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6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ou may not be able to reproduce the code exactly, as it is driven by AI (probabilities)</a:t>
                      </a:r>
                      <a:endParaRPr lang="en-US" altLang="zh-CN" sz="2000" b="0" i="0" kern="1200" dirty="0">
                        <a:solidFill>
                          <a:srgbClr val="333F48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>
                    <a:lnL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31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EA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9515776"/>
                  </a:ext>
                </a:extLst>
              </a:tr>
            </a:tbl>
          </a:graphicData>
        </a:graphic>
      </p:graphicFrame>
      <p:sp>
        <p:nvSpPr>
          <p:cNvPr id="3" name="标题 2">
            <a:extLst>
              <a:ext uri="{FF2B5EF4-FFF2-40B4-BE49-F238E27FC236}">
                <a16:creationId xmlns:a16="http://schemas.microsoft.com/office/drawing/2014/main" id="{42819414-D144-B43F-CC90-7053E355F4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14450" y="724399"/>
            <a:ext cx="9144000" cy="594359"/>
          </a:xfrm>
        </p:spPr>
        <p:txBody>
          <a:bodyPr/>
          <a:lstStyle/>
          <a:p>
            <a:r>
              <a:rPr lang="en-US" altLang="zh-CN" dirty="0" err="1"/>
              <a:t>ChatDataCopilot</a:t>
            </a:r>
            <a:r>
              <a:rPr lang="en-US" altLang="zh-CN" dirty="0"/>
              <a:t> </a:t>
            </a:r>
            <a:br>
              <a:rPr lang="en-US" altLang="zh-CN" dirty="0"/>
            </a:br>
            <a:r>
              <a:rPr lang="en-US" altLang="zh-CN" sz="2400" dirty="0"/>
              <a:t>- Interactive Code Generation and Data Analysis Copilot</a:t>
            </a:r>
            <a:endParaRPr lang="zh-CN" altLang="en-US" sz="3600" dirty="0"/>
          </a:p>
        </p:txBody>
      </p:sp>
    </p:spTree>
    <p:extLst>
      <p:ext uri="{BB962C8B-B14F-4D97-AF65-F5344CB8AC3E}">
        <p14:creationId xmlns:p14="http://schemas.microsoft.com/office/powerpoint/2010/main" val="602465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>
            <a:extLst>
              <a:ext uri="{FF2B5EF4-FFF2-40B4-BE49-F238E27FC236}">
                <a16:creationId xmlns:a16="http://schemas.microsoft.com/office/drawing/2014/main" id="{42819414-D144-B43F-CC90-7053E355F4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14450" y="724399"/>
            <a:ext cx="9144000" cy="594359"/>
          </a:xfrm>
        </p:spPr>
        <p:txBody>
          <a:bodyPr/>
          <a:lstStyle/>
          <a:p>
            <a:r>
              <a:rPr lang="en-US" altLang="zh-CN" dirty="0" err="1"/>
              <a:t>ChatDataCopilot</a:t>
            </a:r>
            <a:r>
              <a:rPr lang="en-US" altLang="zh-CN" dirty="0"/>
              <a:t> </a:t>
            </a:r>
            <a:br>
              <a:rPr lang="en-US" altLang="zh-CN" dirty="0"/>
            </a:br>
            <a:r>
              <a:rPr lang="en-US" altLang="zh-CN" sz="3200" dirty="0"/>
              <a:t>- Features</a:t>
            </a:r>
            <a:endParaRPr lang="zh-CN" altLang="en-US" sz="3600" dirty="0"/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2A5E3450-2B8B-8298-87C0-4A2BED7AFC00}"/>
              </a:ext>
            </a:extLst>
          </p:cNvPr>
          <p:cNvSpPr txBox="1"/>
          <p:nvPr/>
        </p:nvSpPr>
        <p:spPr>
          <a:xfrm>
            <a:off x="447676" y="1779381"/>
            <a:ext cx="6308724" cy="4488408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marL="139700"/>
            <a:r>
              <a:rPr lang="en-US" altLang="zh-CN" sz="2800" spc="40" dirty="0">
                <a:solidFill>
                  <a:schemeClr val="accent1"/>
                </a:solidFill>
                <a:latin typeface="Gill Sans MT" panose="020B0502020104020203" pitchFamily="34" charset="0"/>
                <a:ea typeface="+mj-ea"/>
                <a:cs typeface="+mj-cs"/>
              </a:rPr>
              <a:t>Basic</a:t>
            </a:r>
            <a:endParaRPr lang="zh-CN" altLang="zh-CN" sz="2800" spc="40" dirty="0">
              <a:solidFill>
                <a:schemeClr val="accent1"/>
              </a:solidFill>
              <a:latin typeface="Gill Sans MT" panose="020B0502020104020203" pitchFamily="34" charset="0"/>
              <a:ea typeface="+mj-ea"/>
              <a:cs typeface="+mj-cs"/>
            </a:endParaRPr>
          </a:p>
          <a:p>
            <a:pPr marL="139700"/>
            <a:r>
              <a:rPr lang="en-US" altLang="zh-CN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宋体" panose="02010600030101010101" pitchFamily="2" charset="-122"/>
                <a:cs typeface="宋体" panose="02010600030101010101" pitchFamily="2" charset="-122"/>
              </a:rPr>
              <a:t> </a:t>
            </a:r>
            <a:endParaRPr lang="zh-CN" altLang="zh-CN" dirty="0">
              <a:effectLst/>
              <a:latin typeface="Aptos" panose="020B0004020202020204" pitchFamily="34" charset="0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en-US" altLang="zh-CN" dirty="0">
                <a:solidFill>
                  <a:srgbClr val="333F48"/>
                </a:solidFill>
                <a:latin typeface="Arial" panose="020B0604020202020204" pitchFamily="34" charset="0"/>
              </a:rPr>
              <a:t>Real-time Data Analysis and Reporting with LLM and R</a:t>
            </a:r>
            <a:endParaRPr lang="zh-CN" altLang="zh-CN" dirty="0">
              <a:solidFill>
                <a:srgbClr val="333F48"/>
              </a:solidFill>
              <a:latin typeface="Arial" panose="020B0604020202020204" pitchFamily="34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en-US" altLang="zh-CN" dirty="0">
                <a:solidFill>
                  <a:srgbClr val="333F48"/>
                </a:solidFill>
                <a:latin typeface="Arial" panose="020B0604020202020204" pitchFamily="34" charset="0"/>
              </a:rPr>
              <a:t>Integration of AI and Human Intelligence - Single or Multiple Rounds of Chat Support</a:t>
            </a:r>
            <a:endParaRPr lang="zh-CN" altLang="zh-CN" dirty="0">
              <a:solidFill>
                <a:srgbClr val="333F48"/>
              </a:solidFill>
              <a:latin typeface="Arial" panose="020B0604020202020204" pitchFamily="34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en-US" altLang="zh-CN" dirty="0">
                <a:solidFill>
                  <a:srgbClr val="333F48"/>
                </a:solidFill>
                <a:latin typeface="Arial" panose="020B0604020202020204" pitchFamily="34" charset="0"/>
              </a:rPr>
              <a:t>Support for Multiple Programming Languages and Data Formats</a:t>
            </a:r>
            <a:endParaRPr lang="zh-CN" altLang="zh-CN" dirty="0">
              <a:solidFill>
                <a:srgbClr val="333F48"/>
              </a:solidFill>
              <a:latin typeface="Arial" panose="020B0604020202020204" pitchFamily="34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en-US" altLang="zh-CN" dirty="0">
                <a:solidFill>
                  <a:srgbClr val="333F48"/>
                </a:solidFill>
                <a:latin typeface="Arial" panose="020B0604020202020204" pitchFamily="34" charset="0"/>
              </a:rPr>
              <a:t>Data Science Platform (RStudio Connect, Azure OpenAI, and Databricks)</a:t>
            </a:r>
            <a:endParaRPr lang="zh-CN" altLang="zh-CN" dirty="0">
              <a:solidFill>
                <a:srgbClr val="333F48"/>
              </a:solidFill>
              <a:latin typeface="Arial" panose="020B0604020202020204" pitchFamily="34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en-US" altLang="zh-CN" dirty="0">
                <a:solidFill>
                  <a:srgbClr val="333F48"/>
                </a:solidFill>
                <a:latin typeface="Arial" panose="020B0604020202020204" pitchFamily="34" charset="0"/>
              </a:rPr>
              <a:t>Data Protection - All Operations Conducted in a Secure Corporate Environment</a:t>
            </a:r>
            <a:endParaRPr lang="zh-CN" altLang="zh-CN" dirty="0">
              <a:solidFill>
                <a:srgbClr val="333F48"/>
              </a:solidFill>
              <a:latin typeface="Arial" panose="020B0604020202020204" pitchFamily="34" charset="0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4F85DEFF-B4C2-E69B-CFB1-390A483BA516}"/>
              </a:ext>
            </a:extLst>
          </p:cNvPr>
          <p:cNvSpPr txBox="1"/>
          <p:nvPr/>
        </p:nvSpPr>
        <p:spPr>
          <a:xfrm>
            <a:off x="6990080" y="1779381"/>
            <a:ext cx="5039995" cy="4488408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marL="139700"/>
            <a:r>
              <a:rPr lang="en-US" altLang="zh-CN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宋体" panose="02010600030101010101" pitchFamily="2" charset="-122"/>
                <a:cs typeface="宋体" panose="02010600030101010101" pitchFamily="2" charset="-122"/>
              </a:rPr>
              <a:t> </a:t>
            </a:r>
            <a:r>
              <a:rPr lang="en-US" altLang="zh-CN" sz="2800" spc="40" dirty="0">
                <a:solidFill>
                  <a:schemeClr val="accent1"/>
                </a:solidFill>
                <a:latin typeface="Gill Sans MT" panose="020B0502020104020203" pitchFamily="34" charset="0"/>
                <a:ea typeface="+mj-ea"/>
                <a:cs typeface="+mj-cs"/>
              </a:rPr>
              <a:t>Advanced</a:t>
            </a:r>
          </a:p>
          <a:p>
            <a:pPr marL="139700"/>
            <a:endParaRPr lang="zh-CN" altLang="zh-CN" dirty="0">
              <a:effectLst/>
              <a:latin typeface="Aptos" panose="020B0004020202020204" pitchFamily="34" charset="0"/>
              <a:ea typeface="宋体" panose="02010600030101010101" pitchFamily="2" charset="-122"/>
              <a:cs typeface="宋体" panose="02010600030101010101" pitchFamily="2" charset="-122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en-US" altLang="zh-CN" dirty="0">
                <a:solidFill>
                  <a:srgbClr val="333F48"/>
                </a:solidFill>
                <a:latin typeface="Arial" panose="020B0604020202020204" pitchFamily="34" charset="0"/>
              </a:rPr>
              <a:t>Multi-modality – recreating reports from images of sample/mock statistical graphs/tables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altLang="zh-CN" dirty="0">
                <a:solidFill>
                  <a:srgbClr val="333F48"/>
                </a:solidFill>
                <a:latin typeface="Arial" panose="020B0604020202020204" pitchFamily="34" charset="0"/>
              </a:rPr>
              <a:t>Reading and understanding corporate documents/codes/metadata as  knowledge base(ongoing) </a:t>
            </a:r>
            <a:endParaRPr lang="zh-CN" altLang="zh-CN" dirty="0">
              <a:solidFill>
                <a:srgbClr val="333F48"/>
              </a:solidFill>
              <a:latin typeface="Arial" panose="020B0604020202020204" pitchFamily="34" charset="0"/>
            </a:endParaRP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r>
              <a:rPr lang="en-US" altLang="zh-CN" dirty="0">
                <a:solidFill>
                  <a:srgbClr val="333F48"/>
                </a:solidFill>
                <a:latin typeface="Arial" panose="020B0604020202020204" pitchFamily="34" charset="0"/>
              </a:rPr>
              <a:t>Agent - continuous analysis without human intervention(ongoing)</a:t>
            </a:r>
          </a:p>
          <a:p>
            <a:pPr marL="342900" lvl="0" indent="-342900">
              <a:lnSpc>
                <a:spcPct val="150000"/>
              </a:lnSpc>
              <a:buFont typeface="+mj-lt"/>
              <a:buAutoNum type="arabicPeriod"/>
            </a:pPr>
            <a:endParaRPr lang="zh-CN" altLang="zh-CN" dirty="0">
              <a:solidFill>
                <a:srgbClr val="333F48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4991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占位符 4">
            <a:extLst>
              <a:ext uri="{FF2B5EF4-FFF2-40B4-BE49-F238E27FC236}">
                <a16:creationId xmlns:a16="http://schemas.microsoft.com/office/drawing/2014/main" id="{3C8001D0-8253-BDBD-5791-BEE9C35E49A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object 3">
            <a:extLst>
              <a:ext uri="{FF2B5EF4-FFF2-40B4-BE49-F238E27FC236}">
                <a16:creationId xmlns:a16="http://schemas.microsoft.com/office/drawing/2014/main" id="{A8EB14BB-73C8-5D32-19D1-7A725DC8B2E3}"/>
              </a:ext>
            </a:extLst>
          </p:cNvPr>
          <p:cNvSpPr txBox="1">
            <a:spLocks/>
          </p:cNvSpPr>
          <p:nvPr/>
        </p:nvSpPr>
        <p:spPr>
          <a:xfrm>
            <a:off x="815167" y="631246"/>
            <a:ext cx="829881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 algn="l" defTabSz="91437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 cap="none" spc="40" baseline="0">
                <a:solidFill>
                  <a:schemeClr val="tx2"/>
                </a:solidFill>
                <a:latin typeface="Gill Sans MT" panose="020B0502020104020203" pitchFamily="34" charset="0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altLang="zh-CN" dirty="0">
                <a:solidFill>
                  <a:schemeClr val="accent1"/>
                </a:solidFill>
              </a:rPr>
              <a:t>Semantic </a:t>
            </a:r>
            <a:r>
              <a:rPr lang="en-US" dirty="0">
                <a:solidFill>
                  <a:schemeClr val="accent1"/>
                </a:solidFill>
              </a:rPr>
              <a:t>Data </a:t>
            </a:r>
            <a:r>
              <a:rPr lang="en-US" altLang="zh-CN" dirty="0">
                <a:solidFill>
                  <a:schemeClr val="accent1"/>
                </a:solidFill>
              </a:rPr>
              <a:t>Query</a:t>
            </a:r>
            <a:endParaRPr lang="en-US" dirty="0">
              <a:solidFill>
                <a:schemeClr val="accent1"/>
              </a:solidFill>
            </a:endParaRP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36769A1F-5B5B-BD27-E8DB-9607E6FE5B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5167" y="1407024"/>
            <a:ext cx="10256108" cy="4416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498500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 10">
            <a:extLst>
              <a:ext uri="{FF2B5EF4-FFF2-40B4-BE49-F238E27FC236}">
                <a16:creationId xmlns:a16="http://schemas.microsoft.com/office/drawing/2014/main" id="{ED454C51-99CC-713D-6924-ED696D449E8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0896" r="6598" b="21376"/>
          <a:stretch/>
        </p:blipFill>
        <p:spPr>
          <a:xfrm>
            <a:off x="739449" y="1508289"/>
            <a:ext cx="11357342" cy="4065276"/>
          </a:xfrm>
          <a:prstGeom prst="rect">
            <a:avLst/>
          </a:prstGeom>
        </p:spPr>
      </p:pic>
      <p:sp>
        <p:nvSpPr>
          <p:cNvPr id="4" name="文本占位符 3">
            <a:extLst>
              <a:ext uri="{FF2B5EF4-FFF2-40B4-BE49-F238E27FC236}">
                <a16:creationId xmlns:a16="http://schemas.microsoft.com/office/drawing/2014/main" id="{358A02CC-48EB-61D0-4784-3F9E250CA8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object 3">
            <a:extLst>
              <a:ext uri="{FF2B5EF4-FFF2-40B4-BE49-F238E27FC236}">
                <a16:creationId xmlns:a16="http://schemas.microsoft.com/office/drawing/2014/main" id="{A8EB14BB-73C8-5D32-19D1-7A725DC8B2E3}"/>
              </a:ext>
            </a:extLst>
          </p:cNvPr>
          <p:cNvSpPr txBox="1">
            <a:spLocks/>
          </p:cNvSpPr>
          <p:nvPr/>
        </p:nvSpPr>
        <p:spPr>
          <a:xfrm>
            <a:off x="815167" y="631246"/>
            <a:ext cx="829881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 algn="l" defTabSz="91437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 cap="none" spc="40" baseline="0">
                <a:solidFill>
                  <a:schemeClr val="tx2"/>
                </a:solidFill>
                <a:latin typeface="Gill Sans MT" panose="020B0502020104020203" pitchFamily="34" charset="0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dirty="0">
                <a:solidFill>
                  <a:schemeClr val="accent1"/>
                </a:solidFill>
              </a:rPr>
              <a:t>Data Visualization</a:t>
            </a:r>
          </a:p>
        </p:txBody>
      </p:sp>
    </p:spTree>
    <p:extLst>
      <p:ext uri="{BB962C8B-B14F-4D97-AF65-F5344CB8AC3E}">
        <p14:creationId xmlns:p14="http://schemas.microsoft.com/office/powerpoint/2010/main" val="209869276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占位符 4">
            <a:extLst>
              <a:ext uri="{FF2B5EF4-FFF2-40B4-BE49-F238E27FC236}">
                <a16:creationId xmlns:a16="http://schemas.microsoft.com/office/drawing/2014/main" id="{DB886075-1AD0-1E16-744A-37655E1A42B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253C34CD-D786-4175-C3C2-799D38F5504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5907"/>
          <a:stretch/>
        </p:blipFill>
        <p:spPr>
          <a:xfrm>
            <a:off x="1919945" y="1103170"/>
            <a:ext cx="8911454" cy="5637873"/>
          </a:xfrm>
          <a:prstGeom prst="rect">
            <a:avLst/>
          </a:prstGeom>
        </p:spPr>
      </p:pic>
      <p:sp>
        <p:nvSpPr>
          <p:cNvPr id="2" name="object 3">
            <a:extLst>
              <a:ext uri="{FF2B5EF4-FFF2-40B4-BE49-F238E27FC236}">
                <a16:creationId xmlns:a16="http://schemas.microsoft.com/office/drawing/2014/main" id="{B6BD617C-7E76-FEF5-C137-246F489C52E4}"/>
              </a:ext>
            </a:extLst>
          </p:cNvPr>
          <p:cNvSpPr txBox="1">
            <a:spLocks/>
          </p:cNvSpPr>
          <p:nvPr/>
        </p:nvSpPr>
        <p:spPr>
          <a:xfrm>
            <a:off x="815167" y="631246"/>
            <a:ext cx="829881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 algn="l" defTabSz="91437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 cap="none" spc="40" baseline="0">
                <a:solidFill>
                  <a:schemeClr val="tx2"/>
                </a:solidFill>
                <a:latin typeface="Gill Sans MT" panose="020B0502020104020203" pitchFamily="34" charset="0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dirty="0">
                <a:solidFill>
                  <a:schemeClr val="accent1"/>
                </a:solidFill>
              </a:rPr>
              <a:t>Data Query and Narrative</a:t>
            </a:r>
          </a:p>
        </p:txBody>
      </p:sp>
    </p:spTree>
    <p:extLst>
      <p:ext uri="{BB962C8B-B14F-4D97-AF65-F5344CB8AC3E}">
        <p14:creationId xmlns:p14="http://schemas.microsoft.com/office/powerpoint/2010/main" val="50518220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占位符 3">
            <a:extLst>
              <a:ext uri="{FF2B5EF4-FFF2-40B4-BE49-F238E27FC236}">
                <a16:creationId xmlns:a16="http://schemas.microsoft.com/office/drawing/2014/main" id="{00BCD1E6-F585-F8B7-AA84-8362A4A081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object 3">
            <a:extLst>
              <a:ext uri="{FF2B5EF4-FFF2-40B4-BE49-F238E27FC236}">
                <a16:creationId xmlns:a16="http://schemas.microsoft.com/office/drawing/2014/main" id="{B6BD617C-7E76-FEF5-C137-246F489C52E4}"/>
              </a:ext>
            </a:extLst>
          </p:cNvPr>
          <p:cNvSpPr txBox="1">
            <a:spLocks/>
          </p:cNvSpPr>
          <p:nvPr/>
        </p:nvSpPr>
        <p:spPr>
          <a:xfrm>
            <a:off x="815167" y="631246"/>
            <a:ext cx="829881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 algn="l" defTabSz="91437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 cap="none" spc="40" baseline="0">
                <a:solidFill>
                  <a:schemeClr val="tx2"/>
                </a:solidFill>
                <a:latin typeface="Gill Sans MT" panose="020B0502020104020203" pitchFamily="34" charset="0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dirty="0">
                <a:solidFill>
                  <a:schemeClr val="accent1"/>
                </a:solidFill>
              </a:rPr>
              <a:t>R Learning for SAS Programmer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AD9C6601-D5B9-F41E-AE29-319962EEE7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9200" y="1129468"/>
            <a:ext cx="9753600" cy="4155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971547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文本占位符 22">
            <a:extLst>
              <a:ext uri="{FF2B5EF4-FFF2-40B4-BE49-F238E27FC236}">
                <a16:creationId xmlns:a16="http://schemas.microsoft.com/office/drawing/2014/main" id="{95D64AC1-03FB-F764-9FDD-784C807BA58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2" name="object 3">
            <a:extLst>
              <a:ext uri="{FF2B5EF4-FFF2-40B4-BE49-F238E27FC236}">
                <a16:creationId xmlns:a16="http://schemas.microsoft.com/office/drawing/2014/main" id="{B6BD617C-7E76-FEF5-C137-246F489C52E4}"/>
              </a:ext>
            </a:extLst>
          </p:cNvPr>
          <p:cNvSpPr txBox="1">
            <a:spLocks/>
          </p:cNvSpPr>
          <p:nvPr/>
        </p:nvSpPr>
        <p:spPr>
          <a:xfrm>
            <a:off x="815167" y="631246"/>
            <a:ext cx="829881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 algn="l" defTabSz="91437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 cap="none" spc="40" baseline="0">
                <a:solidFill>
                  <a:schemeClr val="tx2"/>
                </a:solidFill>
                <a:latin typeface="Gill Sans MT" panose="020B0502020104020203" pitchFamily="34" charset="0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dirty="0">
                <a:solidFill>
                  <a:schemeClr val="accent1"/>
                </a:solidFill>
              </a:rPr>
              <a:t>SAS Learning for R Programmer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BB7D6A07-DB95-872F-D654-C6EC83059BC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8162"/>
          <a:stretch/>
        </p:blipFill>
        <p:spPr>
          <a:xfrm>
            <a:off x="7754204" y="1244494"/>
            <a:ext cx="4362451" cy="4906060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72AB780C-0015-2DD1-2FC9-E17FD92408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37797" y="1244494"/>
            <a:ext cx="3153215" cy="4906060"/>
          </a:xfrm>
          <a:prstGeom prst="rect">
            <a:avLst/>
          </a:prstGeom>
        </p:spPr>
      </p:pic>
      <p:pic>
        <p:nvPicPr>
          <p:cNvPr id="12" name="图片 11">
            <a:extLst>
              <a:ext uri="{FF2B5EF4-FFF2-40B4-BE49-F238E27FC236}">
                <a16:creationId xmlns:a16="http://schemas.microsoft.com/office/drawing/2014/main" id="{01F86065-B897-81B3-976B-5A205E4F080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76506" y="1744884"/>
            <a:ext cx="2762636" cy="3877216"/>
          </a:xfrm>
          <a:prstGeom prst="rect">
            <a:avLst/>
          </a:prstGeom>
        </p:spPr>
      </p:pic>
      <p:sp>
        <p:nvSpPr>
          <p:cNvPr id="14" name="文本框 13">
            <a:extLst>
              <a:ext uri="{FF2B5EF4-FFF2-40B4-BE49-F238E27FC236}">
                <a16:creationId xmlns:a16="http://schemas.microsoft.com/office/drawing/2014/main" id="{EE997ED4-07B3-473A-D805-04EC805229C4}"/>
              </a:ext>
            </a:extLst>
          </p:cNvPr>
          <p:cNvSpPr txBox="1"/>
          <p:nvPr/>
        </p:nvSpPr>
        <p:spPr>
          <a:xfrm>
            <a:off x="9584194" y="6150554"/>
            <a:ext cx="49291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b="0" i="0" dirty="0">
                <a:solidFill>
                  <a:srgbClr val="000000"/>
                </a:solidFill>
                <a:effectLst/>
                <a:latin typeface="-apple-system"/>
              </a:rPr>
              <a:t>✔️</a:t>
            </a:r>
            <a:endParaRPr lang="zh-CN" altLang="en-US" dirty="0"/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691904E2-0625-1518-CCE3-57D7F86D2CB9}"/>
              </a:ext>
            </a:extLst>
          </p:cNvPr>
          <p:cNvSpPr txBox="1"/>
          <p:nvPr/>
        </p:nvSpPr>
        <p:spPr>
          <a:xfrm>
            <a:off x="5714662" y="6150554"/>
            <a:ext cx="42624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b="0" i="0" dirty="0">
                <a:solidFill>
                  <a:srgbClr val="000000"/>
                </a:solidFill>
                <a:effectLst/>
                <a:latin typeface="-apple-system"/>
              </a:rPr>
              <a:t>❌</a:t>
            </a:r>
            <a:endParaRPr lang="zh-CN" altLang="en-US" dirty="0"/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82A8457B-6E22-72C3-B02E-A7760F7EC983}"/>
              </a:ext>
            </a:extLst>
          </p:cNvPr>
          <p:cNvSpPr txBox="1"/>
          <p:nvPr/>
        </p:nvSpPr>
        <p:spPr>
          <a:xfrm>
            <a:off x="2448965" y="5758463"/>
            <a:ext cx="49291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b="0" i="0" dirty="0">
                <a:solidFill>
                  <a:srgbClr val="000000"/>
                </a:solidFill>
                <a:effectLst/>
                <a:latin typeface="-apple-system"/>
              </a:rPr>
              <a:t>✔️</a:t>
            </a:r>
            <a:endParaRPr lang="zh-CN" altLang="en-US" dirty="0"/>
          </a:p>
        </p:txBody>
      </p:sp>
      <p:pic>
        <p:nvPicPr>
          <p:cNvPr id="19" name="图片 18">
            <a:extLst>
              <a:ext uri="{FF2B5EF4-FFF2-40B4-BE49-F238E27FC236}">
                <a16:creationId xmlns:a16="http://schemas.microsoft.com/office/drawing/2014/main" id="{2AEFAED2-90BE-EAEE-E4B8-0F3B532951A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592" y="1744884"/>
            <a:ext cx="1200318" cy="1514686"/>
          </a:xfrm>
          <a:prstGeom prst="rect">
            <a:avLst/>
          </a:prstGeom>
        </p:spPr>
      </p:pic>
      <p:sp>
        <p:nvSpPr>
          <p:cNvPr id="21" name="文本框 20">
            <a:extLst>
              <a:ext uri="{FF2B5EF4-FFF2-40B4-BE49-F238E27FC236}">
                <a16:creationId xmlns:a16="http://schemas.microsoft.com/office/drawing/2014/main" id="{D0C6B706-4768-4167-8A56-B2BB9A4D8EAE}"/>
              </a:ext>
            </a:extLst>
          </p:cNvPr>
          <p:cNvSpPr txBox="1"/>
          <p:nvPr/>
        </p:nvSpPr>
        <p:spPr>
          <a:xfrm>
            <a:off x="5714662" y="1014313"/>
            <a:ext cx="159781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>
                <a:solidFill>
                  <a:schemeClr val="accent1"/>
                </a:solidFill>
              </a:rPr>
              <a:t>GPT 3.5</a:t>
            </a:r>
            <a:endParaRPr lang="zh-CN" altLang="en-US" dirty="0"/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3681DDE5-CB32-AAA9-01AD-62717BCA1E8B}"/>
              </a:ext>
            </a:extLst>
          </p:cNvPr>
          <p:cNvSpPr txBox="1"/>
          <p:nvPr/>
        </p:nvSpPr>
        <p:spPr>
          <a:xfrm>
            <a:off x="9362737" y="1014313"/>
            <a:ext cx="159781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>
                <a:solidFill>
                  <a:schemeClr val="accent1"/>
                </a:solidFill>
              </a:rPr>
              <a:t>GPT 4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48596012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 txBox="1"/>
          <p:nvPr/>
        </p:nvSpPr>
        <p:spPr>
          <a:xfrm>
            <a:off x="11870352" y="6520002"/>
            <a:ext cx="160020" cy="18669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50" spc="-10">
                <a:solidFill>
                  <a:srgbClr val="3E4444"/>
                </a:solidFill>
                <a:latin typeface="Calibri"/>
                <a:cs typeface="Calibri"/>
              </a:rPr>
              <a:t>25</a:t>
            </a:r>
            <a:endParaRPr sz="1050">
              <a:latin typeface="Calibri"/>
              <a:cs typeface="Calibri"/>
            </a:endParaRPr>
          </a:p>
        </p:txBody>
      </p:sp>
      <p:sp>
        <p:nvSpPr>
          <p:cNvPr id="15" name="文本占位符 14">
            <a:extLst>
              <a:ext uri="{FF2B5EF4-FFF2-40B4-BE49-F238E27FC236}">
                <a16:creationId xmlns:a16="http://schemas.microsoft.com/office/drawing/2014/main" id="{FB0A52EE-4F10-96F2-914D-2445E4B8DE8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object 6"/>
          <p:cNvSpPr txBox="1">
            <a:spLocks noGrp="1"/>
          </p:cNvSpPr>
          <p:nvPr>
            <p:ph type="title" idx="4294967295"/>
          </p:nvPr>
        </p:nvSpPr>
        <p:spPr>
          <a:xfrm>
            <a:off x="344559" y="461328"/>
            <a:ext cx="5170416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dirty="0">
                <a:solidFill>
                  <a:schemeClr val="accent1"/>
                </a:solidFill>
              </a:rPr>
              <a:t>Graph</a:t>
            </a:r>
            <a:r>
              <a:rPr dirty="0">
                <a:solidFill>
                  <a:schemeClr val="accent1"/>
                </a:solidFill>
              </a:rPr>
              <a:t> Generation</a:t>
            </a:r>
            <a:r>
              <a:rPr lang="en-US" dirty="0">
                <a:solidFill>
                  <a:schemeClr val="accent1"/>
                </a:solidFill>
              </a:rPr>
              <a:t> – </a:t>
            </a:r>
            <a:r>
              <a:rPr lang="en-US" altLang="zh-CN" dirty="0">
                <a:solidFill>
                  <a:schemeClr val="accent1"/>
                </a:solidFill>
              </a:rPr>
              <a:t>from Shell Image</a:t>
            </a:r>
            <a:endParaRPr dirty="0">
              <a:solidFill>
                <a:schemeClr val="accent1"/>
              </a:solidFill>
            </a:endParaRPr>
          </a:p>
        </p:txBody>
      </p:sp>
      <p:pic>
        <p:nvPicPr>
          <p:cNvPr id="13" name="图片 12" descr="图表, 折线图&#10;&#10;描述已自动生成">
            <a:extLst>
              <a:ext uri="{FF2B5EF4-FFF2-40B4-BE49-F238E27FC236}">
                <a16:creationId xmlns:a16="http://schemas.microsoft.com/office/drawing/2014/main" id="{F99C6B7F-E019-F721-F8C8-F5944CD8A36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73" y="1117600"/>
            <a:ext cx="5082902" cy="2411856"/>
          </a:xfrm>
          <a:prstGeom prst="rect">
            <a:avLst/>
          </a:prstGeom>
        </p:spPr>
      </p:pic>
      <p:pic>
        <p:nvPicPr>
          <p:cNvPr id="1026" name="Picture 2" descr="Plot object">
            <a:extLst>
              <a:ext uri="{FF2B5EF4-FFF2-40B4-BE49-F238E27FC236}">
                <a16:creationId xmlns:a16="http://schemas.microsoft.com/office/drawing/2014/main" id="{36F281F5-59EC-EFD4-9492-4A66BFE5BD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051" y="3691514"/>
            <a:ext cx="5371910" cy="2636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箭头: 右 16">
            <a:extLst>
              <a:ext uri="{FF2B5EF4-FFF2-40B4-BE49-F238E27FC236}">
                <a16:creationId xmlns:a16="http://schemas.microsoft.com/office/drawing/2014/main" id="{B4B8EDDB-9DE0-4B4A-334A-2259BEDFCC8B}"/>
              </a:ext>
            </a:extLst>
          </p:cNvPr>
          <p:cNvSpPr/>
          <p:nvPr/>
        </p:nvSpPr>
        <p:spPr>
          <a:xfrm>
            <a:off x="5946961" y="2216133"/>
            <a:ext cx="942976" cy="467881"/>
          </a:xfrm>
          <a:prstGeom prst="rightArrow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dirty="0" err="1">
              <a:solidFill>
                <a:schemeClr val="tx2"/>
              </a:solidFill>
            </a:endParaRPr>
          </a:p>
        </p:txBody>
      </p:sp>
      <p:sp>
        <p:nvSpPr>
          <p:cNvPr id="18" name="箭头: 右 17">
            <a:extLst>
              <a:ext uri="{FF2B5EF4-FFF2-40B4-BE49-F238E27FC236}">
                <a16:creationId xmlns:a16="http://schemas.microsoft.com/office/drawing/2014/main" id="{E50F9BC4-49F8-4CA7-176E-726CDBCF567E}"/>
              </a:ext>
            </a:extLst>
          </p:cNvPr>
          <p:cNvSpPr/>
          <p:nvPr/>
        </p:nvSpPr>
        <p:spPr>
          <a:xfrm rot="10800000">
            <a:off x="6093863" y="4541893"/>
            <a:ext cx="942975" cy="467881"/>
          </a:xfrm>
          <a:prstGeom prst="rightArrow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dirty="0" err="1">
              <a:solidFill>
                <a:schemeClr val="tx2"/>
              </a:solidFill>
            </a:endParaRPr>
          </a:p>
        </p:txBody>
      </p:sp>
      <p:pic>
        <p:nvPicPr>
          <p:cNvPr id="20" name="图片 19">
            <a:extLst>
              <a:ext uri="{FF2B5EF4-FFF2-40B4-BE49-F238E27FC236}">
                <a16:creationId xmlns:a16="http://schemas.microsoft.com/office/drawing/2014/main" id="{CED7C65D-9521-C4F7-9AB9-FD7947E5294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83739" y="461328"/>
            <a:ext cx="4619198" cy="6223686"/>
          </a:xfrm>
          <a:prstGeom prst="rect">
            <a:avLst/>
          </a:prstGeom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id="{27B8429F-7568-B2E4-191B-FB9A2CBC72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575" y="4218584"/>
            <a:ext cx="6766560" cy="189926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" name="图片 14" descr="图片包含 示意图&#10;&#10;描述已自动生成">
            <a:extLst>
              <a:ext uri="{FF2B5EF4-FFF2-40B4-BE49-F238E27FC236}">
                <a16:creationId xmlns:a16="http://schemas.microsoft.com/office/drawing/2014/main" id="{B9081DD8-31E4-4C15-1311-832250232D8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48"/>
          <a:stretch/>
        </p:blipFill>
        <p:spPr>
          <a:xfrm>
            <a:off x="800100" y="1124435"/>
            <a:ext cx="5066982" cy="2813198"/>
          </a:xfrm>
          <a:prstGeom prst="rect">
            <a:avLst/>
          </a:prstGeom>
        </p:spPr>
      </p:pic>
      <p:sp>
        <p:nvSpPr>
          <p:cNvPr id="18" name="箭头: 右 17">
            <a:extLst>
              <a:ext uri="{FF2B5EF4-FFF2-40B4-BE49-F238E27FC236}">
                <a16:creationId xmlns:a16="http://schemas.microsoft.com/office/drawing/2014/main" id="{0BBCB624-5746-A380-695C-7BB8EACD969A}"/>
              </a:ext>
            </a:extLst>
          </p:cNvPr>
          <p:cNvSpPr/>
          <p:nvPr/>
        </p:nvSpPr>
        <p:spPr>
          <a:xfrm>
            <a:off x="6181236" y="1904331"/>
            <a:ext cx="942976" cy="467881"/>
          </a:xfrm>
          <a:prstGeom prst="rightArrow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dirty="0" err="1">
              <a:solidFill>
                <a:schemeClr val="tx2"/>
              </a:solidFill>
            </a:endParaRPr>
          </a:p>
        </p:txBody>
      </p:sp>
      <p:sp>
        <p:nvSpPr>
          <p:cNvPr id="21" name="object 6">
            <a:extLst>
              <a:ext uri="{FF2B5EF4-FFF2-40B4-BE49-F238E27FC236}">
                <a16:creationId xmlns:a16="http://schemas.microsoft.com/office/drawing/2014/main" id="{36DF042A-2366-6646-43CC-A6112AC38681}"/>
              </a:ext>
            </a:extLst>
          </p:cNvPr>
          <p:cNvSpPr txBox="1">
            <a:spLocks/>
          </p:cNvSpPr>
          <p:nvPr/>
        </p:nvSpPr>
        <p:spPr>
          <a:xfrm>
            <a:off x="344559" y="461328"/>
            <a:ext cx="4798941" cy="382156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>
            <a:lvl1pPr algn="l" defTabSz="91437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 cap="none" spc="40" baseline="0">
                <a:solidFill>
                  <a:schemeClr val="tx2"/>
                </a:solidFill>
                <a:latin typeface="Gill Sans MT" panose="020B0502020104020203" pitchFamily="34" charset="0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dirty="0">
                <a:solidFill>
                  <a:schemeClr val="accent1"/>
                </a:solidFill>
              </a:rPr>
              <a:t>Table Generation </a:t>
            </a:r>
            <a:r>
              <a:rPr lang="en-US" sz="2000" dirty="0">
                <a:solidFill>
                  <a:schemeClr val="accent1"/>
                </a:solidFill>
              </a:rPr>
              <a:t>– </a:t>
            </a:r>
            <a:r>
              <a:rPr lang="en-US" altLang="zh-CN" sz="2000" dirty="0">
                <a:solidFill>
                  <a:schemeClr val="accent1"/>
                </a:solidFill>
              </a:rPr>
              <a:t>from Shell Image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24" name="箭头: 右 23">
            <a:extLst>
              <a:ext uri="{FF2B5EF4-FFF2-40B4-BE49-F238E27FC236}">
                <a16:creationId xmlns:a16="http://schemas.microsoft.com/office/drawing/2014/main" id="{6A5E8C21-0908-41F2-EA8C-F7F0A791C42D}"/>
              </a:ext>
            </a:extLst>
          </p:cNvPr>
          <p:cNvSpPr/>
          <p:nvPr/>
        </p:nvSpPr>
        <p:spPr>
          <a:xfrm rot="10800000">
            <a:off x="6436964" y="5081280"/>
            <a:ext cx="765384" cy="467881"/>
          </a:xfrm>
          <a:prstGeom prst="rightArrow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dirty="0" err="1">
              <a:solidFill>
                <a:schemeClr val="tx2"/>
              </a:solidFill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D1D26774-477C-B429-2694-43AA8B0C893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80484" y="618173"/>
            <a:ext cx="4798941" cy="5803615"/>
          </a:xfrm>
          <a:prstGeom prst="rect">
            <a:avLst/>
          </a:prstGeom>
        </p:spPr>
      </p:pic>
      <p:sp>
        <p:nvSpPr>
          <p:cNvPr id="6" name="矩形: 圆角 5">
            <a:extLst>
              <a:ext uri="{FF2B5EF4-FFF2-40B4-BE49-F238E27FC236}">
                <a16:creationId xmlns:a16="http://schemas.microsoft.com/office/drawing/2014/main" id="{0E200CF0-6F76-6EFF-DDDE-9EE6278A1F43}"/>
              </a:ext>
            </a:extLst>
          </p:cNvPr>
          <p:cNvSpPr/>
          <p:nvPr/>
        </p:nvSpPr>
        <p:spPr>
          <a:xfrm>
            <a:off x="10408920" y="4632960"/>
            <a:ext cx="982980" cy="175260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078328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图片 14" descr="图片包含 示意图&#10;&#10;描述已自动生成">
            <a:extLst>
              <a:ext uri="{FF2B5EF4-FFF2-40B4-BE49-F238E27FC236}">
                <a16:creationId xmlns:a16="http://schemas.microsoft.com/office/drawing/2014/main" id="{B9081DD8-31E4-4C15-1311-832250232D8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48"/>
          <a:stretch/>
        </p:blipFill>
        <p:spPr>
          <a:xfrm>
            <a:off x="800100" y="1124435"/>
            <a:ext cx="5066982" cy="2813198"/>
          </a:xfrm>
          <a:prstGeom prst="rect">
            <a:avLst/>
          </a:prstGeom>
        </p:spPr>
      </p:pic>
      <p:sp>
        <p:nvSpPr>
          <p:cNvPr id="18" name="箭头: 右 17">
            <a:extLst>
              <a:ext uri="{FF2B5EF4-FFF2-40B4-BE49-F238E27FC236}">
                <a16:creationId xmlns:a16="http://schemas.microsoft.com/office/drawing/2014/main" id="{0BBCB624-5746-A380-695C-7BB8EACD969A}"/>
              </a:ext>
            </a:extLst>
          </p:cNvPr>
          <p:cNvSpPr/>
          <p:nvPr/>
        </p:nvSpPr>
        <p:spPr>
          <a:xfrm>
            <a:off x="6181236" y="1904331"/>
            <a:ext cx="942976" cy="467881"/>
          </a:xfrm>
          <a:prstGeom prst="rightArrow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dirty="0" err="1">
              <a:solidFill>
                <a:schemeClr val="tx2"/>
              </a:solidFill>
            </a:endParaRPr>
          </a:p>
        </p:txBody>
      </p:sp>
      <p:sp>
        <p:nvSpPr>
          <p:cNvPr id="21" name="object 6">
            <a:extLst>
              <a:ext uri="{FF2B5EF4-FFF2-40B4-BE49-F238E27FC236}">
                <a16:creationId xmlns:a16="http://schemas.microsoft.com/office/drawing/2014/main" id="{36DF042A-2366-6646-43CC-A6112AC38681}"/>
              </a:ext>
            </a:extLst>
          </p:cNvPr>
          <p:cNvSpPr txBox="1">
            <a:spLocks/>
          </p:cNvSpPr>
          <p:nvPr/>
        </p:nvSpPr>
        <p:spPr>
          <a:xfrm>
            <a:off x="344559" y="461328"/>
            <a:ext cx="6111314" cy="382156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>
            <a:lvl1pPr algn="l" defTabSz="91437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 cap="none" spc="40" baseline="0">
                <a:solidFill>
                  <a:schemeClr val="tx2"/>
                </a:solidFill>
                <a:latin typeface="Gill Sans MT" panose="020B0502020104020203" pitchFamily="34" charset="0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dirty="0">
                <a:solidFill>
                  <a:schemeClr val="accent1"/>
                </a:solidFill>
              </a:rPr>
              <a:t>Table Generation with tool </a:t>
            </a:r>
            <a:r>
              <a:rPr lang="en-US" sz="2000" dirty="0">
                <a:solidFill>
                  <a:schemeClr val="accent1"/>
                </a:solidFill>
              </a:rPr>
              <a:t>– </a:t>
            </a:r>
            <a:r>
              <a:rPr lang="en-US" altLang="zh-CN" sz="2000" dirty="0">
                <a:solidFill>
                  <a:schemeClr val="accent1"/>
                </a:solidFill>
              </a:rPr>
              <a:t>from Shell Image</a:t>
            </a:r>
            <a:endParaRPr lang="en-US" dirty="0">
              <a:solidFill>
                <a:schemeClr val="accent1"/>
              </a:solidFill>
            </a:endParaRPr>
          </a:p>
        </p:txBody>
      </p:sp>
      <p:pic>
        <p:nvPicPr>
          <p:cNvPr id="23" name="图片 22">
            <a:extLst>
              <a:ext uri="{FF2B5EF4-FFF2-40B4-BE49-F238E27FC236}">
                <a16:creationId xmlns:a16="http://schemas.microsoft.com/office/drawing/2014/main" id="{3CEFF084-E65E-81B8-8219-3E8570A3EB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335" y="4682354"/>
            <a:ext cx="6111314" cy="173943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4" name="箭头: 右 23">
            <a:extLst>
              <a:ext uri="{FF2B5EF4-FFF2-40B4-BE49-F238E27FC236}">
                <a16:creationId xmlns:a16="http://schemas.microsoft.com/office/drawing/2014/main" id="{6A5E8C21-0908-41F2-EA8C-F7F0A791C42D}"/>
              </a:ext>
            </a:extLst>
          </p:cNvPr>
          <p:cNvSpPr/>
          <p:nvPr/>
        </p:nvSpPr>
        <p:spPr>
          <a:xfrm rot="10800000">
            <a:off x="6353223" y="5111761"/>
            <a:ext cx="942975" cy="467881"/>
          </a:xfrm>
          <a:prstGeom prst="rightArrow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dirty="0" err="1">
              <a:solidFill>
                <a:schemeClr val="tx2"/>
              </a:solidFill>
            </a:endParaRPr>
          </a:p>
        </p:txBody>
      </p:sp>
      <p:pic>
        <p:nvPicPr>
          <p:cNvPr id="26" name="图片 25">
            <a:extLst>
              <a:ext uri="{FF2B5EF4-FFF2-40B4-BE49-F238E27FC236}">
                <a16:creationId xmlns:a16="http://schemas.microsoft.com/office/drawing/2014/main" id="{70EA5922-0AB7-EE5B-D00C-E28D9AFB7F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58773" y="652406"/>
            <a:ext cx="4424579" cy="5938431"/>
          </a:xfrm>
          <a:prstGeom prst="rect">
            <a:avLst/>
          </a:prstGeom>
        </p:spPr>
      </p:pic>
      <p:sp>
        <p:nvSpPr>
          <p:cNvPr id="27" name="矩形: 圆角 26">
            <a:extLst>
              <a:ext uri="{FF2B5EF4-FFF2-40B4-BE49-F238E27FC236}">
                <a16:creationId xmlns:a16="http://schemas.microsoft.com/office/drawing/2014/main" id="{289DFE9B-7D95-B633-93C5-E423D9BEE411}"/>
              </a:ext>
            </a:extLst>
          </p:cNvPr>
          <p:cNvSpPr/>
          <p:nvPr/>
        </p:nvSpPr>
        <p:spPr>
          <a:xfrm>
            <a:off x="7528560" y="4564380"/>
            <a:ext cx="1173480" cy="167368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dirty="0" err="1">
              <a:solidFill>
                <a:schemeClr val="tx2"/>
              </a:solidFill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1910CB8-1B18-F05D-E2A2-19FBF2472F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1A8E585-845B-497D-BF2F-352F8654D138}" type="slidenum">
              <a:rPr lang="en-US" altLang="en-US" smtClean="0"/>
              <a:pPr>
                <a:defRPr/>
              </a:pPr>
              <a:t>2</a:t>
            </a:fld>
            <a:endParaRPr lang="en-US" altLang="en-US" sz="110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94570BD-1A4A-E511-DC77-6C1685890F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92729" y="606878"/>
            <a:ext cx="9245601" cy="1143000"/>
          </a:xfrm>
        </p:spPr>
        <p:txBody>
          <a:bodyPr/>
          <a:lstStyle/>
          <a:p>
            <a:r>
              <a:rPr lang="en-US" b="1" spc="-10" dirty="0">
                <a:solidFill>
                  <a:schemeClr val="accent4"/>
                </a:solidFill>
                <a:latin typeface="Times New Roman"/>
                <a:cs typeface="Times New Roman"/>
              </a:rPr>
              <a:t>DISCLAIMER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A87983C-A285-AB11-0DA4-AA964F8F552B}"/>
              </a:ext>
            </a:extLst>
          </p:cNvPr>
          <p:cNvSpPr txBox="1"/>
          <p:nvPr/>
        </p:nvSpPr>
        <p:spPr>
          <a:xfrm>
            <a:off x="1752600" y="2404776"/>
            <a:ext cx="9105900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The perspectives and opinions presented in this document, along with the accompanying presentation and slides, are solely those of the author and do not represent the views of </a:t>
            </a:r>
            <a:r>
              <a:rPr lang="en-US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BeiGene</a:t>
            </a:r>
            <a:r>
              <a:rPr lang="en-US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. The analysis conducted in this document is based entirely on publicly available </a:t>
            </a:r>
            <a:r>
              <a:rPr lang="en-US" altLang="zh-CN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or dummy </a:t>
            </a:r>
            <a:r>
              <a:rPr lang="en-US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data, and </a:t>
            </a:r>
            <a:r>
              <a:rPr lang="en-US" sz="20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BeiGene</a:t>
            </a:r>
            <a:r>
              <a:rPr lang="en-US" sz="20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makes no representation regarding the accuracy or reliability of the information provided.</a:t>
            </a:r>
          </a:p>
        </p:txBody>
      </p:sp>
    </p:spTree>
    <p:extLst>
      <p:ext uri="{BB962C8B-B14F-4D97-AF65-F5344CB8AC3E}">
        <p14:creationId xmlns:p14="http://schemas.microsoft.com/office/powerpoint/2010/main" val="160227977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D9A0EA0-CFDD-029A-BDAF-C92ECD5543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9A0EA0-CFDD-029A-BDAF-C92ECD5543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FD47C233-5DA5-9117-0207-814127C0306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altLang="zh-CN" b="1" spc="-15" dirty="0">
                <a:latin typeface="Times New Roman"/>
                <a:cs typeface="Times New Roman"/>
              </a:rPr>
              <a:t>Discuss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304938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文本占位符 33">
            <a:extLst>
              <a:ext uri="{FF2B5EF4-FFF2-40B4-BE49-F238E27FC236}">
                <a16:creationId xmlns:a16="http://schemas.microsoft.com/office/drawing/2014/main" id="{CFBC4D49-10AD-77F0-D7B7-5F491A4F51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object 3"/>
          <p:cNvSpPr txBox="1">
            <a:spLocks noGrp="1"/>
          </p:cNvSpPr>
          <p:nvPr>
            <p:ph type="title" idx="4294967295"/>
          </p:nvPr>
        </p:nvSpPr>
        <p:spPr>
          <a:xfrm>
            <a:off x="245763" y="327836"/>
            <a:ext cx="3522663" cy="39052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dirty="0">
                <a:solidFill>
                  <a:schemeClr val="accent1"/>
                </a:solidFill>
              </a:rPr>
              <a:t>Complexity</a:t>
            </a:r>
            <a:endParaRPr dirty="0">
              <a:solidFill>
                <a:schemeClr val="accent1"/>
              </a:solidFill>
            </a:endParaRPr>
          </a:p>
        </p:txBody>
      </p:sp>
      <p:pic>
        <p:nvPicPr>
          <p:cNvPr id="22" name="object 22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048616" y="859807"/>
            <a:ext cx="314203" cy="292005"/>
          </a:xfrm>
          <a:prstGeom prst="rect">
            <a:avLst/>
          </a:prstGeom>
        </p:spPr>
      </p:pic>
      <p:pic>
        <p:nvPicPr>
          <p:cNvPr id="24" name="object 24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669745" y="866223"/>
            <a:ext cx="314203" cy="306925"/>
          </a:xfrm>
          <a:prstGeom prst="rect">
            <a:avLst/>
          </a:prstGeom>
        </p:spPr>
      </p:pic>
      <p:pic>
        <p:nvPicPr>
          <p:cNvPr id="26" name="object 26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456319" y="855554"/>
            <a:ext cx="314203" cy="306925"/>
          </a:xfrm>
          <a:prstGeom prst="rect">
            <a:avLst/>
          </a:prstGeom>
        </p:spPr>
      </p:pic>
      <p:pic>
        <p:nvPicPr>
          <p:cNvPr id="35" name="object 4">
            <a:extLst>
              <a:ext uri="{FF2B5EF4-FFF2-40B4-BE49-F238E27FC236}">
                <a16:creationId xmlns:a16="http://schemas.microsoft.com/office/drawing/2014/main" id="{E7822C01-E300-9441-236F-9C24CC465938}"/>
              </a:ext>
            </a:extLst>
          </p:cNvPr>
          <p:cNvPicPr/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66000"/>
                    </a14:imgEffect>
                  </a14:imgLayer>
                </a14:imgProps>
              </a:ext>
            </a:extLst>
          </a:blip>
          <a:srcRect r="2130" b="19924"/>
          <a:stretch/>
        </p:blipFill>
        <p:spPr>
          <a:xfrm>
            <a:off x="344559" y="1173148"/>
            <a:ext cx="5342712" cy="2561996"/>
          </a:xfrm>
          <a:prstGeom prst="rect">
            <a:avLst/>
          </a:prstGeom>
        </p:spPr>
      </p:pic>
      <p:cxnSp>
        <p:nvCxnSpPr>
          <p:cNvPr id="59" name="直接连接符 58">
            <a:extLst>
              <a:ext uri="{FF2B5EF4-FFF2-40B4-BE49-F238E27FC236}">
                <a16:creationId xmlns:a16="http://schemas.microsoft.com/office/drawing/2014/main" id="{2397ADC7-99DD-8413-1042-36C39B9E3318}"/>
              </a:ext>
            </a:extLst>
          </p:cNvPr>
          <p:cNvCxnSpPr/>
          <p:nvPr/>
        </p:nvCxnSpPr>
        <p:spPr>
          <a:xfrm>
            <a:off x="6309360" y="1173148"/>
            <a:ext cx="0" cy="4643379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object 2">
            <a:extLst>
              <a:ext uri="{FF2B5EF4-FFF2-40B4-BE49-F238E27FC236}">
                <a16:creationId xmlns:a16="http://schemas.microsoft.com/office/drawing/2014/main" id="{C0D96A0A-9CAA-A361-8AE9-FE58C546F747}"/>
              </a:ext>
            </a:extLst>
          </p:cNvPr>
          <p:cNvGrpSpPr/>
          <p:nvPr/>
        </p:nvGrpSpPr>
        <p:grpSpPr>
          <a:xfrm>
            <a:off x="6432781" y="1584960"/>
            <a:ext cx="5588000" cy="4484744"/>
            <a:chOff x="134112" y="832103"/>
            <a:chExt cx="10728960" cy="6026150"/>
          </a:xfrm>
          <a:effectLst>
            <a:outerShdw blurRad="50800" dist="50800" dir="5400000" algn="ctr" rotWithShape="0">
              <a:schemeClr val="bg1"/>
            </a:outerShdw>
          </a:effectLst>
        </p:grpSpPr>
        <p:pic>
          <p:nvPicPr>
            <p:cNvPr id="5" name="object 3">
              <a:extLst>
                <a:ext uri="{FF2B5EF4-FFF2-40B4-BE49-F238E27FC236}">
                  <a16:creationId xmlns:a16="http://schemas.microsoft.com/office/drawing/2014/main" id="{0FA2F29E-1A6E-5EA0-DE8B-54974DA1E273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34112" y="832103"/>
              <a:ext cx="10728959" cy="5641847"/>
            </a:xfrm>
            <a:prstGeom prst="rect">
              <a:avLst/>
            </a:prstGeom>
          </p:spPr>
        </p:pic>
        <p:pic>
          <p:nvPicPr>
            <p:cNvPr id="6" name="object 4">
              <a:extLst>
                <a:ext uri="{FF2B5EF4-FFF2-40B4-BE49-F238E27FC236}">
                  <a16:creationId xmlns:a16="http://schemas.microsoft.com/office/drawing/2014/main" id="{1EDDDD8C-008E-A6B8-E36A-99FABC685F40}"/>
                </a:ext>
              </a:extLst>
            </p:cNvPr>
            <p:cNvPicPr/>
            <p:nvPr/>
          </p:nvPicPr>
          <p:blipFill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saturation sat="33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332232" y="1030224"/>
              <a:ext cx="10137647" cy="5050535"/>
            </a:xfrm>
            <a:prstGeom prst="rect">
              <a:avLst/>
            </a:prstGeom>
          </p:spPr>
        </p:pic>
        <p:pic>
          <p:nvPicPr>
            <p:cNvPr id="7" name="object 5">
              <a:extLst>
                <a:ext uri="{FF2B5EF4-FFF2-40B4-BE49-F238E27FC236}">
                  <a16:creationId xmlns:a16="http://schemas.microsoft.com/office/drawing/2014/main" id="{89EC7780-FBA5-7E05-57F8-B342D3C12091}"/>
                </a:ext>
              </a:extLst>
            </p:cNvPr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7059168" y="5724144"/>
              <a:ext cx="3188207" cy="1133855"/>
            </a:xfrm>
            <a:prstGeom prst="rect">
              <a:avLst/>
            </a:prstGeom>
          </p:spPr>
        </p:pic>
      </p:grp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D299BA0A-E508-47A2-B4D2-301297EFC4CB}"/>
              </a:ext>
            </a:extLst>
          </p:cNvPr>
          <p:cNvCxnSpPr/>
          <p:nvPr/>
        </p:nvCxnSpPr>
        <p:spPr>
          <a:xfrm>
            <a:off x="216921" y="3911600"/>
            <a:ext cx="534271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bject 6">
            <a:extLst>
              <a:ext uri="{FF2B5EF4-FFF2-40B4-BE49-F238E27FC236}">
                <a16:creationId xmlns:a16="http://schemas.microsoft.com/office/drawing/2014/main" id="{4A6538C7-70E5-DF21-E6E7-2EB6C046A0EA}"/>
              </a:ext>
            </a:extLst>
          </p:cNvPr>
          <p:cNvSpPr txBox="1">
            <a:spLocks/>
          </p:cNvSpPr>
          <p:nvPr/>
        </p:nvSpPr>
        <p:spPr>
          <a:xfrm>
            <a:off x="6704684" y="472757"/>
            <a:ext cx="4406900" cy="382797"/>
          </a:xfrm>
          <a:prstGeom prst="rect">
            <a:avLst/>
          </a:prstGeom>
        </p:spPr>
        <p:txBody>
          <a:bodyPr vert="horz" wrap="square" lIns="0" tIns="13335" rIns="0" bIns="0" rtlCol="0" anchor="t">
            <a:spAutoFit/>
          </a:bodyPr>
          <a:lstStyle>
            <a:lvl1pPr algn="l" defTabSz="91437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 cap="none" spc="40" baseline="0">
                <a:solidFill>
                  <a:schemeClr val="tx2"/>
                </a:solidFill>
                <a:latin typeface="Gill Sans MT" panose="020B0502020104020203" pitchFamily="34" charset="0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n-US" dirty="0">
                <a:solidFill>
                  <a:schemeClr val="accent1"/>
                </a:solidFill>
              </a:rPr>
              <a:t>LLM Implementation Mode</a:t>
            </a: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9732DB7E-0A5D-CD3A-5BC8-3D7D1FF9E0E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60775" y="4042069"/>
            <a:ext cx="5851331" cy="2774033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426820" y="737438"/>
            <a:ext cx="1935379" cy="68993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4400" b="1" spc="-15" dirty="0">
                <a:solidFill>
                  <a:schemeClr val="accent2">
                    <a:lumMod val="50000"/>
                  </a:schemeClr>
                </a:solidFill>
                <a:latin typeface="Times New Roman"/>
                <a:ea typeface="+mj-ea"/>
                <a:cs typeface="Times New Roman"/>
              </a:rPr>
              <a:t>Q&amp;A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11714" y="1654966"/>
            <a:ext cx="6189929" cy="3671886"/>
          </a:xfrm>
          <a:prstGeom prst="rect">
            <a:avLst/>
          </a:prstGeom>
          <a:effectLst>
            <a:outerShdw dist="50800" dir="5400000" algn="ctr" rotWithShape="0">
              <a:schemeClr val="accent1">
                <a:lumMod val="40000"/>
                <a:lumOff val="60000"/>
                <a:alpha val="50000"/>
              </a:schemeClr>
            </a:outerShdw>
            <a:softEdge rad="31750"/>
          </a:effectLst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>
            <a:extLst>
              <a:ext uri="{FF2B5EF4-FFF2-40B4-BE49-F238E27FC236}">
                <a16:creationId xmlns:a16="http://schemas.microsoft.com/office/drawing/2014/main" id="{FD8A102B-D41D-4D5E-2CBA-E9F0831718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057400" y="3124200"/>
            <a:ext cx="3581400" cy="76200"/>
          </a:xfrm>
        </p:spPr>
        <p:txBody>
          <a:bodyPr/>
          <a:lstStyle/>
          <a:p>
            <a:r>
              <a:rPr lang="en-US" altLang="zh-CN" sz="4000"/>
              <a:t>Backup</a:t>
            </a:r>
            <a:endParaRPr lang="zh-CN" altLang="en-US" sz="4000"/>
          </a:p>
        </p:txBody>
      </p:sp>
    </p:spTree>
    <p:extLst>
      <p:ext uri="{BB962C8B-B14F-4D97-AF65-F5344CB8AC3E}">
        <p14:creationId xmlns:p14="http://schemas.microsoft.com/office/powerpoint/2010/main" val="195392174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489A7115-D8FF-6619-9F74-E4ABBF296C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78226" y="6339057"/>
            <a:ext cx="609600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31FEFF75-79D2-EE46-877B-299D1510E681}" type="slidenum">
              <a:rPr lang="en-US" smtClean="0"/>
              <a:pPr>
                <a:spcAft>
                  <a:spcPts val="600"/>
                </a:spcAft>
              </a:pPr>
              <a:t>24</a:t>
            </a:fld>
            <a:endParaRPr lang="en-US"/>
          </a:p>
        </p:txBody>
      </p:sp>
      <p:sp>
        <p:nvSpPr>
          <p:cNvPr id="16" name="Title 3">
            <a:extLst>
              <a:ext uri="{FF2B5EF4-FFF2-40B4-BE49-F238E27FC236}">
                <a16:creationId xmlns:a16="http://schemas.microsoft.com/office/drawing/2014/main" id="{95E58068-78F8-A1F0-0DEB-DE4C8846C71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39449" y="116957"/>
            <a:ext cx="10637384" cy="90544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22159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5745480" y="3956303"/>
            <a:ext cx="5721350" cy="2825750"/>
            <a:chOff x="5745480" y="3956303"/>
            <a:chExt cx="5721350" cy="2825750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9345167" y="3956303"/>
              <a:ext cx="2121407" cy="2167127"/>
            </a:xfrm>
            <a:prstGeom prst="rect">
              <a:avLst/>
            </a:prstGeom>
          </p:spPr>
        </p:pic>
        <p:pic>
          <p:nvPicPr>
            <p:cNvPr id="4" name="object 4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8156447" y="4059935"/>
              <a:ext cx="1389887" cy="518159"/>
            </a:xfrm>
            <a:prstGeom prst="rect">
              <a:avLst/>
            </a:prstGeom>
          </p:spPr>
        </p:pic>
        <p:pic>
          <p:nvPicPr>
            <p:cNvPr id="5" name="object 5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745480" y="5568696"/>
              <a:ext cx="2554223" cy="1213091"/>
            </a:xfrm>
            <a:prstGeom prst="rect">
              <a:avLst/>
            </a:prstGeom>
          </p:spPr>
        </p:pic>
      </p:grpSp>
      <p:grpSp>
        <p:nvGrpSpPr>
          <p:cNvPr id="7" name="object 7"/>
          <p:cNvGrpSpPr/>
          <p:nvPr/>
        </p:nvGrpSpPr>
        <p:grpSpPr>
          <a:xfrm>
            <a:off x="2776727" y="664464"/>
            <a:ext cx="3191510" cy="2941320"/>
            <a:chOff x="2776727" y="664464"/>
            <a:chExt cx="3191510" cy="2941320"/>
          </a:xfrm>
        </p:grpSpPr>
        <p:pic>
          <p:nvPicPr>
            <p:cNvPr id="8" name="object 8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2776727" y="798576"/>
              <a:ext cx="3191255" cy="2807207"/>
            </a:xfrm>
            <a:prstGeom prst="rect">
              <a:avLst/>
            </a:prstGeom>
          </p:spPr>
        </p:pic>
        <p:pic>
          <p:nvPicPr>
            <p:cNvPr id="9" name="object 9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2779775" y="664464"/>
              <a:ext cx="1392935" cy="518159"/>
            </a:xfrm>
            <a:prstGeom prst="rect">
              <a:avLst/>
            </a:prstGeom>
          </p:spPr>
        </p:pic>
        <p:sp>
          <p:nvSpPr>
            <p:cNvPr id="10" name="object 10"/>
            <p:cNvSpPr/>
            <p:nvPr/>
          </p:nvSpPr>
          <p:spPr>
            <a:xfrm>
              <a:off x="5461984" y="2899105"/>
              <a:ext cx="356870" cy="681355"/>
            </a:xfrm>
            <a:custGeom>
              <a:avLst/>
              <a:gdLst/>
              <a:ahLst/>
              <a:cxnLst/>
              <a:rect l="l" t="t" r="r" b="b"/>
              <a:pathLst>
                <a:path w="356870" h="681354">
                  <a:moveTo>
                    <a:pt x="260438" y="0"/>
                  </a:moveTo>
                  <a:lnTo>
                    <a:pt x="44691" y="21170"/>
                  </a:lnTo>
                  <a:lnTo>
                    <a:pt x="133527" y="73685"/>
                  </a:lnTo>
                  <a:lnTo>
                    <a:pt x="112013" y="121485"/>
                  </a:lnTo>
                  <a:lnTo>
                    <a:pt x="92348" y="169975"/>
                  </a:lnTo>
                  <a:lnTo>
                    <a:pt x="74543" y="219101"/>
                  </a:lnTo>
                  <a:lnTo>
                    <a:pt x="58610" y="268808"/>
                  </a:lnTo>
                  <a:lnTo>
                    <a:pt x="44563" y="319042"/>
                  </a:lnTo>
                  <a:lnTo>
                    <a:pt x="32411" y="369750"/>
                  </a:lnTo>
                  <a:lnTo>
                    <a:pt x="22169" y="420878"/>
                  </a:lnTo>
                  <a:lnTo>
                    <a:pt x="13846" y="472372"/>
                  </a:lnTo>
                  <a:lnTo>
                    <a:pt x="7456" y="524177"/>
                  </a:lnTo>
                  <a:lnTo>
                    <a:pt x="3010" y="576240"/>
                  </a:lnTo>
                  <a:lnTo>
                    <a:pt x="521" y="628506"/>
                  </a:lnTo>
                  <a:lnTo>
                    <a:pt x="0" y="680923"/>
                  </a:lnTo>
                  <a:lnTo>
                    <a:pt x="155295" y="679551"/>
                  </a:lnTo>
                  <a:lnTo>
                    <a:pt x="155849" y="630074"/>
                  </a:lnTo>
                  <a:lnTo>
                    <a:pt x="158376" y="580746"/>
                  </a:lnTo>
                  <a:lnTo>
                    <a:pt x="162863" y="531627"/>
                  </a:lnTo>
                  <a:lnTo>
                    <a:pt x="169298" y="482774"/>
                  </a:lnTo>
                  <a:lnTo>
                    <a:pt x="177669" y="434244"/>
                  </a:lnTo>
                  <a:lnTo>
                    <a:pt x="187963" y="386096"/>
                  </a:lnTo>
                  <a:lnTo>
                    <a:pt x="200168" y="338387"/>
                  </a:lnTo>
                  <a:lnTo>
                    <a:pt x="214273" y="291175"/>
                  </a:lnTo>
                  <a:lnTo>
                    <a:pt x="230263" y="244518"/>
                  </a:lnTo>
                  <a:lnTo>
                    <a:pt x="248128" y="198473"/>
                  </a:lnTo>
                  <a:lnTo>
                    <a:pt x="267855" y="153098"/>
                  </a:lnTo>
                  <a:lnTo>
                    <a:pt x="356654" y="205587"/>
                  </a:lnTo>
                  <a:lnTo>
                    <a:pt x="260438" y="0"/>
                  </a:lnTo>
                  <a:close/>
                </a:path>
              </a:pathLst>
            </a:custGeom>
            <a:solidFill>
              <a:srgbClr val="83005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5461984" y="2899105"/>
              <a:ext cx="356870" cy="681355"/>
            </a:xfrm>
            <a:custGeom>
              <a:avLst/>
              <a:gdLst/>
              <a:ahLst/>
              <a:cxnLst/>
              <a:rect l="l" t="t" r="r" b="b"/>
              <a:pathLst>
                <a:path w="356870" h="681354">
                  <a:moveTo>
                    <a:pt x="0" y="680923"/>
                  </a:moveTo>
                  <a:lnTo>
                    <a:pt x="521" y="628506"/>
                  </a:lnTo>
                  <a:lnTo>
                    <a:pt x="3010" y="576240"/>
                  </a:lnTo>
                  <a:lnTo>
                    <a:pt x="7456" y="524177"/>
                  </a:lnTo>
                  <a:lnTo>
                    <a:pt x="13846" y="472372"/>
                  </a:lnTo>
                  <a:lnTo>
                    <a:pt x="22169" y="420878"/>
                  </a:lnTo>
                  <a:lnTo>
                    <a:pt x="32411" y="369750"/>
                  </a:lnTo>
                  <a:lnTo>
                    <a:pt x="44563" y="319042"/>
                  </a:lnTo>
                  <a:lnTo>
                    <a:pt x="58610" y="268808"/>
                  </a:lnTo>
                  <a:lnTo>
                    <a:pt x="74543" y="219101"/>
                  </a:lnTo>
                  <a:lnTo>
                    <a:pt x="92348" y="169975"/>
                  </a:lnTo>
                  <a:lnTo>
                    <a:pt x="112013" y="121485"/>
                  </a:lnTo>
                  <a:lnTo>
                    <a:pt x="133527" y="73685"/>
                  </a:lnTo>
                  <a:lnTo>
                    <a:pt x="44691" y="21170"/>
                  </a:lnTo>
                  <a:lnTo>
                    <a:pt x="260438" y="0"/>
                  </a:lnTo>
                  <a:lnTo>
                    <a:pt x="356654" y="205587"/>
                  </a:lnTo>
                  <a:lnTo>
                    <a:pt x="267855" y="153098"/>
                  </a:lnTo>
                  <a:lnTo>
                    <a:pt x="248128" y="198473"/>
                  </a:lnTo>
                  <a:lnTo>
                    <a:pt x="230263" y="244518"/>
                  </a:lnTo>
                  <a:lnTo>
                    <a:pt x="214273" y="291175"/>
                  </a:lnTo>
                  <a:lnTo>
                    <a:pt x="200168" y="338387"/>
                  </a:lnTo>
                  <a:lnTo>
                    <a:pt x="187963" y="386096"/>
                  </a:lnTo>
                  <a:lnTo>
                    <a:pt x="177669" y="434244"/>
                  </a:lnTo>
                  <a:lnTo>
                    <a:pt x="169298" y="482774"/>
                  </a:lnTo>
                  <a:lnTo>
                    <a:pt x="162863" y="531627"/>
                  </a:lnTo>
                  <a:lnTo>
                    <a:pt x="158376" y="580746"/>
                  </a:lnTo>
                  <a:lnTo>
                    <a:pt x="155849" y="630074"/>
                  </a:lnTo>
                  <a:lnTo>
                    <a:pt x="155295" y="679551"/>
                  </a:lnTo>
                  <a:lnTo>
                    <a:pt x="0" y="680923"/>
                  </a:lnTo>
                  <a:close/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2" name="object 12"/>
          <p:cNvGrpSpPr/>
          <p:nvPr/>
        </p:nvGrpSpPr>
        <p:grpSpPr>
          <a:xfrm>
            <a:off x="6123432" y="582168"/>
            <a:ext cx="5867400" cy="3197860"/>
            <a:chOff x="6123432" y="582168"/>
            <a:chExt cx="5867400" cy="3197860"/>
          </a:xfrm>
        </p:grpSpPr>
        <p:pic>
          <p:nvPicPr>
            <p:cNvPr id="13" name="object 13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7906512" y="582168"/>
              <a:ext cx="4078223" cy="2709671"/>
            </a:xfrm>
            <a:prstGeom prst="rect">
              <a:avLst/>
            </a:prstGeom>
          </p:spPr>
        </p:pic>
        <p:pic>
          <p:nvPicPr>
            <p:cNvPr id="14" name="object 14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8092440" y="758952"/>
              <a:ext cx="3892283" cy="2182367"/>
            </a:xfrm>
            <a:prstGeom prst="rect">
              <a:avLst/>
            </a:prstGeom>
          </p:spPr>
        </p:pic>
        <p:sp>
          <p:nvSpPr>
            <p:cNvPr id="15" name="object 15"/>
            <p:cNvSpPr/>
            <p:nvPr/>
          </p:nvSpPr>
          <p:spPr>
            <a:xfrm>
              <a:off x="8087867" y="757428"/>
              <a:ext cx="3898265" cy="0"/>
            </a:xfrm>
            <a:custGeom>
              <a:avLst/>
              <a:gdLst/>
              <a:ahLst/>
              <a:cxnLst/>
              <a:rect l="l" t="t" r="r" b="b"/>
              <a:pathLst>
                <a:path w="3898265">
                  <a:moveTo>
                    <a:pt x="0" y="0"/>
                  </a:moveTo>
                  <a:lnTo>
                    <a:pt x="3898099" y="0"/>
                  </a:lnTo>
                </a:path>
              </a:pathLst>
            </a:custGeom>
            <a:ln w="9525">
              <a:solidFill>
                <a:srgbClr val="9BBA5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8087870" y="757428"/>
              <a:ext cx="3898265" cy="2192020"/>
            </a:xfrm>
            <a:custGeom>
              <a:avLst/>
              <a:gdLst/>
              <a:ahLst/>
              <a:cxnLst/>
              <a:rect l="l" t="t" r="r" b="b"/>
              <a:pathLst>
                <a:path w="3898265" h="2192020">
                  <a:moveTo>
                    <a:pt x="3898099" y="2191512"/>
                  </a:moveTo>
                  <a:lnTo>
                    <a:pt x="0" y="2191512"/>
                  </a:lnTo>
                  <a:lnTo>
                    <a:pt x="0" y="0"/>
                  </a:lnTo>
                </a:path>
              </a:pathLst>
            </a:custGeom>
            <a:ln w="9525">
              <a:solidFill>
                <a:srgbClr val="9BBA58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7" name="object 17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7437119" y="2060447"/>
              <a:ext cx="1389887" cy="518159"/>
            </a:xfrm>
            <a:prstGeom prst="rect">
              <a:avLst/>
            </a:prstGeom>
          </p:spPr>
        </p:pic>
        <p:pic>
          <p:nvPicPr>
            <p:cNvPr id="18" name="object 18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6123432" y="3261359"/>
              <a:ext cx="1389887" cy="518159"/>
            </a:xfrm>
            <a:prstGeom prst="rect">
              <a:avLst/>
            </a:prstGeom>
          </p:spPr>
        </p:pic>
        <p:sp>
          <p:nvSpPr>
            <p:cNvPr id="19" name="object 19"/>
            <p:cNvSpPr/>
            <p:nvPr/>
          </p:nvSpPr>
          <p:spPr>
            <a:xfrm>
              <a:off x="7917595" y="2859589"/>
              <a:ext cx="426084" cy="720090"/>
            </a:xfrm>
            <a:custGeom>
              <a:avLst/>
              <a:gdLst/>
              <a:ahLst/>
              <a:cxnLst/>
              <a:rect l="l" t="t" r="r" b="b"/>
              <a:pathLst>
                <a:path w="426084" h="720089">
                  <a:moveTo>
                    <a:pt x="133692" y="0"/>
                  </a:moveTo>
                  <a:lnTo>
                    <a:pt x="0" y="79032"/>
                  </a:lnTo>
                  <a:lnTo>
                    <a:pt x="24322" y="122121"/>
                  </a:lnTo>
                  <a:lnTo>
                    <a:pt x="46862" y="166069"/>
                  </a:lnTo>
                  <a:lnTo>
                    <a:pt x="67599" y="210819"/>
                  </a:lnTo>
                  <a:lnTo>
                    <a:pt x="86518" y="256317"/>
                  </a:lnTo>
                  <a:lnTo>
                    <a:pt x="103598" y="302505"/>
                  </a:lnTo>
                  <a:lnTo>
                    <a:pt x="118823" y="349327"/>
                  </a:lnTo>
                  <a:lnTo>
                    <a:pt x="132173" y="396728"/>
                  </a:lnTo>
                  <a:lnTo>
                    <a:pt x="143631" y="444652"/>
                  </a:lnTo>
                  <a:lnTo>
                    <a:pt x="153179" y="493041"/>
                  </a:lnTo>
                  <a:lnTo>
                    <a:pt x="160798" y="541840"/>
                  </a:lnTo>
                  <a:lnTo>
                    <a:pt x="166471" y="590994"/>
                  </a:lnTo>
                  <a:lnTo>
                    <a:pt x="63322" y="590080"/>
                  </a:lnTo>
                  <a:lnTo>
                    <a:pt x="249631" y="719747"/>
                  </a:lnTo>
                  <a:lnTo>
                    <a:pt x="425704" y="593293"/>
                  </a:lnTo>
                  <a:lnTo>
                    <a:pt x="322516" y="592378"/>
                  </a:lnTo>
                  <a:lnTo>
                    <a:pt x="317172" y="540233"/>
                  </a:lnTo>
                  <a:lnTo>
                    <a:pt x="309884" y="488419"/>
                  </a:lnTo>
                  <a:lnTo>
                    <a:pt x="300667" y="436986"/>
                  </a:lnTo>
                  <a:lnTo>
                    <a:pt x="289538" y="385989"/>
                  </a:lnTo>
                  <a:lnTo>
                    <a:pt x="276515" y="335480"/>
                  </a:lnTo>
                  <a:lnTo>
                    <a:pt x="261613" y="285511"/>
                  </a:lnTo>
                  <a:lnTo>
                    <a:pt x="244850" y="236136"/>
                  </a:lnTo>
                  <a:lnTo>
                    <a:pt x="226242" y="187406"/>
                  </a:lnTo>
                  <a:lnTo>
                    <a:pt x="205805" y="139375"/>
                  </a:lnTo>
                  <a:lnTo>
                    <a:pt x="183557" y="92095"/>
                  </a:lnTo>
                  <a:lnTo>
                    <a:pt x="159514" y="45619"/>
                  </a:lnTo>
                  <a:lnTo>
                    <a:pt x="133692" y="0"/>
                  </a:lnTo>
                  <a:close/>
                </a:path>
              </a:pathLst>
            </a:custGeom>
            <a:solidFill>
              <a:srgbClr val="83005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20"/>
            <p:cNvSpPr/>
            <p:nvPr/>
          </p:nvSpPr>
          <p:spPr>
            <a:xfrm>
              <a:off x="7917595" y="2859589"/>
              <a:ext cx="426084" cy="720090"/>
            </a:xfrm>
            <a:custGeom>
              <a:avLst/>
              <a:gdLst/>
              <a:ahLst/>
              <a:cxnLst/>
              <a:rect l="l" t="t" r="r" b="b"/>
              <a:pathLst>
                <a:path w="426084" h="720089">
                  <a:moveTo>
                    <a:pt x="133692" y="0"/>
                  </a:moveTo>
                  <a:lnTo>
                    <a:pt x="159511" y="45619"/>
                  </a:lnTo>
                  <a:lnTo>
                    <a:pt x="183552" y="92095"/>
                  </a:lnTo>
                  <a:lnTo>
                    <a:pt x="205800" y="139375"/>
                  </a:lnTo>
                  <a:lnTo>
                    <a:pt x="226236" y="187406"/>
                  </a:lnTo>
                  <a:lnTo>
                    <a:pt x="244844" y="236136"/>
                  </a:lnTo>
                  <a:lnTo>
                    <a:pt x="261608" y="285511"/>
                  </a:lnTo>
                  <a:lnTo>
                    <a:pt x="276511" y="335480"/>
                  </a:lnTo>
                  <a:lnTo>
                    <a:pt x="289536" y="385989"/>
                  </a:lnTo>
                  <a:lnTo>
                    <a:pt x="300665" y="436986"/>
                  </a:lnTo>
                  <a:lnTo>
                    <a:pt x="309883" y="488419"/>
                  </a:lnTo>
                  <a:lnTo>
                    <a:pt x="317172" y="540233"/>
                  </a:lnTo>
                  <a:lnTo>
                    <a:pt x="322516" y="592378"/>
                  </a:lnTo>
                  <a:lnTo>
                    <a:pt x="425704" y="593293"/>
                  </a:lnTo>
                  <a:lnTo>
                    <a:pt x="249631" y="719747"/>
                  </a:lnTo>
                  <a:lnTo>
                    <a:pt x="63322" y="590080"/>
                  </a:lnTo>
                  <a:lnTo>
                    <a:pt x="166471" y="590994"/>
                  </a:lnTo>
                  <a:lnTo>
                    <a:pt x="160798" y="541840"/>
                  </a:lnTo>
                  <a:lnTo>
                    <a:pt x="153179" y="493041"/>
                  </a:lnTo>
                  <a:lnTo>
                    <a:pt x="143631" y="444652"/>
                  </a:lnTo>
                  <a:lnTo>
                    <a:pt x="132173" y="396728"/>
                  </a:lnTo>
                  <a:lnTo>
                    <a:pt x="118823" y="349327"/>
                  </a:lnTo>
                  <a:lnTo>
                    <a:pt x="103598" y="302505"/>
                  </a:lnTo>
                  <a:lnTo>
                    <a:pt x="86518" y="256317"/>
                  </a:lnTo>
                  <a:lnTo>
                    <a:pt x="67599" y="210819"/>
                  </a:lnTo>
                  <a:lnTo>
                    <a:pt x="46862" y="166069"/>
                  </a:lnTo>
                  <a:lnTo>
                    <a:pt x="24322" y="122121"/>
                  </a:lnTo>
                  <a:lnTo>
                    <a:pt x="0" y="79032"/>
                  </a:lnTo>
                  <a:lnTo>
                    <a:pt x="133692" y="0"/>
                  </a:lnTo>
                  <a:close/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21"/>
            <p:cNvSpPr/>
            <p:nvPr/>
          </p:nvSpPr>
          <p:spPr>
            <a:xfrm>
              <a:off x="6453176" y="2104994"/>
              <a:ext cx="778510" cy="347345"/>
            </a:xfrm>
            <a:custGeom>
              <a:avLst/>
              <a:gdLst/>
              <a:ahLst/>
              <a:cxnLst/>
              <a:rect l="l" t="t" r="r" b="b"/>
              <a:pathLst>
                <a:path w="778509" h="347344">
                  <a:moveTo>
                    <a:pt x="705891" y="0"/>
                  </a:moveTo>
                  <a:lnTo>
                    <a:pt x="676211" y="98831"/>
                  </a:lnTo>
                  <a:lnTo>
                    <a:pt x="627985" y="89955"/>
                  </a:lnTo>
                  <a:lnTo>
                    <a:pt x="579568" y="82796"/>
                  </a:lnTo>
                  <a:lnTo>
                    <a:pt x="531004" y="77351"/>
                  </a:lnTo>
                  <a:lnTo>
                    <a:pt x="482338" y="73618"/>
                  </a:lnTo>
                  <a:lnTo>
                    <a:pt x="433616" y="71595"/>
                  </a:lnTo>
                  <a:lnTo>
                    <a:pt x="384882" y="71280"/>
                  </a:lnTo>
                  <a:lnTo>
                    <a:pt x="336181" y="72670"/>
                  </a:lnTo>
                  <a:lnTo>
                    <a:pt x="287559" y="75765"/>
                  </a:lnTo>
                  <a:lnTo>
                    <a:pt x="239061" y="80562"/>
                  </a:lnTo>
                  <a:lnTo>
                    <a:pt x="190731" y="87058"/>
                  </a:lnTo>
                  <a:lnTo>
                    <a:pt x="142615" y="95251"/>
                  </a:lnTo>
                  <a:lnTo>
                    <a:pt x="94758" y="105140"/>
                  </a:lnTo>
                  <a:lnTo>
                    <a:pt x="47204" y="116723"/>
                  </a:lnTo>
                  <a:lnTo>
                    <a:pt x="0" y="129997"/>
                  </a:lnTo>
                  <a:lnTo>
                    <a:pt x="44678" y="278739"/>
                  </a:lnTo>
                  <a:lnTo>
                    <a:pt x="92462" y="265428"/>
                  </a:lnTo>
                  <a:lnTo>
                    <a:pt x="140643" y="254065"/>
                  </a:lnTo>
                  <a:lnTo>
                    <a:pt x="189163" y="244654"/>
                  </a:lnTo>
                  <a:lnTo>
                    <a:pt x="237963" y="237197"/>
                  </a:lnTo>
                  <a:lnTo>
                    <a:pt x="286983" y="231698"/>
                  </a:lnTo>
                  <a:lnTo>
                    <a:pt x="336164" y="228160"/>
                  </a:lnTo>
                  <a:lnTo>
                    <a:pt x="385447" y="226586"/>
                  </a:lnTo>
                  <a:lnTo>
                    <a:pt x="434772" y="226979"/>
                  </a:lnTo>
                  <a:lnTo>
                    <a:pt x="484081" y="229342"/>
                  </a:lnTo>
                  <a:lnTo>
                    <a:pt x="533314" y="233679"/>
                  </a:lnTo>
                  <a:lnTo>
                    <a:pt x="582413" y="239992"/>
                  </a:lnTo>
                  <a:lnTo>
                    <a:pt x="631317" y="248284"/>
                  </a:lnTo>
                  <a:lnTo>
                    <a:pt x="601649" y="347078"/>
                  </a:lnTo>
                  <a:lnTo>
                    <a:pt x="778167" y="204368"/>
                  </a:lnTo>
                  <a:lnTo>
                    <a:pt x="705891" y="0"/>
                  </a:lnTo>
                  <a:close/>
                </a:path>
              </a:pathLst>
            </a:custGeom>
            <a:solidFill>
              <a:srgbClr val="83005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22"/>
            <p:cNvSpPr/>
            <p:nvPr/>
          </p:nvSpPr>
          <p:spPr>
            <a:xfrm>
              <a:off x="6929627" y="684276"/>
              <a:ext cx="1228725" cy="441959"/>
            </a:xfrm>
            <a:custGeom>
              <a:avLst/>
              <a:gdLst/>
              <a:ahLst/>
              <a:cxnLst/>
              <a:rect l="l" t="t" r="r" b="b"/>
              <a:pathLst>
                <a:path w="1228725" h="441959">
                  <a:moveTo>
                    <a:pt x="1007363" y="0"/>
                  </a:moveTo>
                  <a:lnTo>
                    <a:pt x="0" y="0"/>
                  </a:lnTo>
                  <a:lnTo>
                    <a:pt x="220979" y="220979"/>
                  </a:lnTo>
                  <a:lnTo>
                    <a:pt x="0" y="441959"/>
                  </a:lnTo>
                  <a:lnTo>
                    <a:pt x="1007363" y="441959"/>
                  </a:lnTo>
                  <a:lnTo>
                    <a:pt x="1228344" y="220979"/>
                  </a:lnTo>
                  <a:lnTo>
                    <a:pt x="1007363" y="0"/>
                  </a:lnTo>
                  <a:close/>
                </a:path>
              </a:pathLst>
            </a:custGeom>
            <a:solidFill>
              <a:srgbClr val="FFD05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3"/>
            <p:cNvSpPr/>
            <p:nvPr/>
          </p:nvSpPr>
          <p:spPr>
            <a:xfrm>
              <a:off x="6929627" y="684276"/>
              <a:ext cx="1228725" cy="441959"/>
            </a:xfrm>
            <a:custGeom>
              <a:avLst/>
              <a:gdLst/>
              <a:ahLst/>
              <a:cxnLst/>
              <a:rect l="l" t="t" r="r" b="b"/>
              <a:pathLst>
                <a:path w="1228725" h="441959">
                  <a:moveTo>
                    <a:pt x="0" y="0"/>
                  </a:moveTo>
                  <a:lnTo>
                    <a:pt x="1007363" y="0"/>
                  </a:lnTo>
                  <a:lnTo>
                    <a:pt x="1228344" y="220979"/>
                  </a:lnTo>
                  <a:lnTo>
                    <a:pt x="1007363" y="441959"/>
                  </a:lnTo>
                  <a:lnTo>
                    <a:pt x="0" y="441959"/>
                  </a:lnTo>
                  <a:lnTo>
                    <a:pt x="220979" y="220979"/>
                  </a:lnTo>
                  <a:lnTo>
                    <a:pt x="0" y="0"/>
                  </a:lnTo>
                  <a:close/>
                </a:path>
              </a:pathLst>
            </a:custGeom>
            <a:ln w="76200">
              <a:solidFill>
                <a:srgbClr val="9DAFAC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4" name="object 24"/>
          <p:cNvGrpSpPr/>
          <p:nvPr/>
        </p:nvGrpSpPr>
        <p:grpSpPr>
          <a:xfrm>
            <a:off x="1414272" y="4284780"/>
            <a:ext cx="4254500" cy="2573655"/>
            <a:chOff x="1414272" y="4284780"/>
            <a:chExt cx="4254500" cy="2573655"/>
          </a:xfrm>
        </p:grpSpPr>
        <p:pic>
          <p:nvPicPr>
            <p:cNvPr id="25" name="object 25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2404229" y="4284780"/>
              <a:ext cx="3264332" cy="1954475"/>
            </a:xfrm>
            <a:prstGeom prst="rect">
              <a:avLst/>
            </a:prstGeom>
          </p:spPr>
        </p:pic>
        <p:pic>
          <p:nvPicPr>
            <p:cNvPr id="26" name="object 26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1414272" y="6175248"/>
              <a:ext cx="1731263" cy="682752"/>
            </a:xfrm>
            <a:prstGeom prst="rect">
              <a:avLst/>
            </a:prstGeom>
          </p:spPr>
        </p:pic>
        <p:pic>
          <p:nvPicPr>
            <p:cNvPr id="27" name="object 27"/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1679447" y="6096000"/>
              <a:ext cx="2188463" cy="762000"/>
            </a:xfrm>
            <a:prstGeom prst="rect">
              <a:avLst/>
            </a:prstGeom>
          </p:spPr>
        </p:pic>
        <p:pic>
          <p:nvPicPr>
            <p:cNvPr id="28" name="object 28"/>
            <p:cNvPicPr/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1877580" y="6294120"/>
              <a:ext cx="1597139" cy="454151"/>
            </a:xfrm>
            <a:prstGeom prst="rect">
              <a:avLst/>
            </a:prstGeom>
          </p:spPr>
        </p:pic>
      </p:grpSp>
      <p:pic>
        <p:nvPicPr>
          <p:cNvPr id="29" name="object 29"/>
          <p:cNvPicPr/>
          <p:nvPr/>
        </p:nvPicPr>
        <p:blipFill>
          <a:blip r:embed="rId15" cstate="print"/>
          <a:stretch>
            <a:fillRect/>
          </a:stretch>
        </p:blipFill>
        <p:spPr>
          <a:xfrm>
            <a:off x="944880" y="4218432"/>
            <a:ext cx="1389887" cy="518159"/>
          </a:xfrm>
          <a:prstGeom prst="rect">
            <a:avLst/>
          </a:prstGeom>
        </p:spPr>
      </p:pic>
      <p:sp>
        <p:nvSpPr>
          <p:cNvPr id="30" name="object 30"/>
          <p:cNvSpPr/>
          <p:nvPr/>
        </p:nvSpPr>
        <p:spPr>
          <a:xfrm>
            <a:off x="7247768" y="4320728"/>
            <a:ext cx="709295" cy="629285"/>
          </a:xfrm>
          <a:custGeom>
            <a:avLst/>
            <a:gdLst/>
            <a:ahLst/>
            <a:cxnLst/>
            <a:rect l="l" t="t" r="r" b="b"/>
            <a:pathLst>
              <a:path w="709295" h="629285">
                <a:moveTo>
                  <a:pt x="586016" y="0"/>
                </a:moveTo>
                <a:lnTo>
                  <a:pt x="553183" y="40915"/>
                </a:lnTo>
                <a:lnTo>
                  <a:pt x="518723" y="80313"/>
                </a:lnTo>
                <a:lnTo>
                  <a:pt x="482692" y="118151"/>
                </a:lnTo>
                <a:lnTo>
                  <a:pt x="445144" y="154387"/>
                </a:lnTo>
                <a:lnTo>
                  <a:pt x="406136" y="188976"/>
                </a:lnTo>
                <a:lnTo>
                  <a:pt x="365721" y="221876"/>
                </a:lnTo>
                <a:lnTo>
                  <a:pt x="323957" y="253044"/>
                </a:lnTo>
                <a:lnTo>
                  <a:pt x="280897" y="282437"/>
                </a:lnTo>
                <a:lnTo>
                  <a:pt x="236597" y="310011"/>
                </a:lnTo>
                <a:lnTo>
                  <a:pt x="191113" y="335724"/>
                </a:lnTo>
                <a:lnTo>
                  <a:pt x="144499" y="359533"/>
                </a:lnTo>
                <a:lnTo>
                  <a:pt x="96812" y="381393"/>
                </a:lnTo>
                <a:lnTo>
                  <a:pt x="65849" y="282994"/>
                </a:lnTo>
                <a:lnTo>
                  <a:pt x="0" y="500227"/>
                </a:lnTo>
                <a:lnTo>
                  <a:pt x="174625" y="628688"/>
                </a:lnTo>
                <a:lnTo>
                  <a:pt x="143649" y="530250"/>
                </a:lnTo>
                <a:lnTo>
                  <a:pt x="191036" y="509338"/>
                </a:lnTo>
                <a:lnTo>
                  <a:pt x="237515" y="486726"/>
                </a:lnTo>
                <a:lnTo>
                  <a:pt x="283045" y="462447"/>
                </a:lnTo>
                <a:lnTo>
                  <a:pt x="327583" y="436533"/>
                </a:lnTo>
                <a:lnTo>
                  <a:pt x="371088" y="409017"/>
                </a:lnTo>
                <a:lnTo>
                  <a:pt x="413516" y="379931"/>
                </a:lnTo>
                <a:lnTo>
                  <a:pt x="454828" y="349307"/>
                </a:lnTo>
                <a:lnTo>
                  <a:pt x="494979" y="317177"/>
                </a:lnTo>
                <a:lnTo>
                  <a:pt x="533929" y="283575"/>
                </a:lnTo>
                <a:lnTo>
                  <a:pt x="571635" y="248532"/>
                </a:lnTo>
                <a:lnTo>
                  <a:pt x="608055" y="212081"/>
                </a:lnTo>
                <a:lnTo>
                  <a:pt x="643148" y="174254"/>
                </a:lnTo>
                <a:lnTo>
                  <a:pt x="676870" y="135083"/>
                </a:lnTo>
                <a:lnTo>
                  <a:pt x="709180" y="94602"/>
                </a:lnTo>
                <a:lnTo>
                  <a:pt x="586016" y="0"/>
                </a:lnTo>
                <a:close/>
              </a:path>
            </a:pathLst>
          </a:custGeom>
          <a:solidFill>
            <a:srgbClr val="830051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1" name="object 31"/>
          <p:cNvGrpSpPr/>
          <p:nvPr/>
        </p:nvGrpSpPr>
        <p:grpSpPr>
          <a:xfrm>
            <a:off x="5744376" y="4349003"/>
            <a:ext cx="744855" cy="552450"/>
            <a:chOff x="5744376" y="4349003"/>
            <a:chExt cx="744855" cy="552450"/>
          </a:xfrm>
        </p:grpSpPr>
        <p:sp>
          <p:nvSpPr>
            <p:cNvPr id="32" name="object 32"/>
            <p:cNvSpPr/>
            <p:nvPr/>
          </p:nvSpPr>
          <p:spPr>
            <a:xfrm>
              <a:off x="5750726" y="4355351"/>
              <a:ext cx="732155" cy="539750"/>
            </a:xfrm>
            <a:custGeom>
              <a:avLst/>
              <a:gdLst/>
              <a:ahLst/>
              <a:cxnLst/>
              <a:rect l="l" t="t" r="r" b="b"/>
              <a:pathLst>
                <a:path w="732154" h="539750">
                  <a:moveTo>
                    <a:pt x="287401" y="0"/>
                  </a:moveTo>
                  <a:lnTo>
                    <a:pt x="60756" y="12674"/>
                  </a:lnTo>
                  <a:lnTo>
                    <a:pt x="0" y="220764"/>
                  </a:lnTo>
                  <a:lnTo>
                    <a:pt x="81838" y="157899"/>
                  </a:lnTo>
                  <a:lnTo>
                    <a:pt x="117736" y="195236"/>
                  </a:lnTo>
                  <a:lnTo>
                    <a:pt x="154919" y="231139"/>
                  </a:lnTo>
                  <a:lnTo>
                    <a:pt x="193342" y="265578"/>
                  </a:lnTo>
                  <a:lnTo>
                    <a:pt x="232962" y="298525"/>
                  </a:lnTo>
                  <a:lnTo>
                    <a:pt x="273732" y="329951"/>
                  </a:lnTo>
                  <a:lnTo>
                    <a:pt x="315608" y="359829"/>
                  </a:lnTo>
                  <a:lnTo>
                    <a:pt x="358546" y="388129"/>
                  </a:lnTo>
                  <a:lnTo>
                    <a:pt x="402500" y="414823"/>
                  </a:lnTo>
                  <a:lnTo>
                    <a:pt x="447425" y="439883"/>
                  </a:lnTo>
                  <a:lnTo>
                    <a:pt x="493276" y="463281"/>
                  </a:lnTo>
                  <a:lnTo>
                    <a:pt x="540009" y="484987"/>
                  </a:lnTo>
                  <a:lnTo>
                    <a:pt x="587579" y="504973"/>
                  </a:lnTo>
                  <a:lnTo>
                    <a:pt x="635941" y="523212"/>
                  </a:lnTo>
                  <a:lnTo>
                    <a:pt x="685050" y="539673"/>
                  </a:lnTo>
                  <a:lnTo>
                    <a:pt x="731659" y="391528"/>
                  </a:lnTo>
                  <a:lnTo>
                    <a:pt x="681965" y="374724"/>
                  </a:lnTo>
                  <a:lnTo>
                    <a:pt x="633137" y="355872"/>
                  </a:lnTo>
                  <a:lnTo>
                    <a:pt x="585235" y="335009"/>
                  </a:lnTo>
                  <a:lnTo>
                    <a:pt x="538318" y="312171"/>
                  </a:lnTo>
                  <a:lnTo>
                    <a:pt x="492446" y="287396"/>
                  </a:lnTo>
                  <a:lnTo>
                    <a:pt x="447678" y="260721"/>
                  </a:lnTo>
                  <a:lnTo>
                    <a:pt x="404073" y="232183"/>
                  </a:lnTo>
                  <a:lnTo>
                    <a:pt x="361692" y="201818"/>
                  </a:lnTo>
                  <a:lnTo>
                    <a:pt x="320594" y="169664"/>
                  </a:lnTo>
                  <a:lnTo>
                    <a:pt x="280837" y="135759"/>
                  </a:lnTo>
                  <a:lnTo>
                    <a:pt x="242482" y="100138"/>
                  </a:lnTo>
                  <a:lnTo>
                    <a:pt x="205587" y="62839"/>
                  </a:lnTo>
                  <a:lnTo>
                    <a:pt x="287401" y="0"/>
                  </a:lnTo>
                  <a:close/>
                </a:path>
              </a:pathLst>
            </a:custGeom>
            <a:solidFill>
              <a:srgbClr val="83005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33"/>
            <p:cNvSpPr/>
            <p:nvPr/>
          </p:nvSpPr>
          <p:spPr>
            <a:xfrm>
              <a:off x="5750726" y="4355353"/>
              <a:ext cx="732155" cy="539750"/>
            </a:xfrm>
            <a:custGeom>
              <a:avLst/>
              <a:gdLst/>
              <a:ahLst/>
              <a:cxnLst/>
              <a:rect l="l" t="t" r="r" b="b"/>
              <a:pathLst>
                <a:path w="732154" h="539750">
                  <a:moveTo>
                    <a:pt x="685050" y="539673"/>
                  </a:moveTo>
                  <a:lnTo>
                    <a:pt x="635941" y="523212"/>
                  </a:lnTo>
                  <a:lnTo>
                    <a:pt x="587579" y="504973"/>
                  </a:lnTo>
                  <a:lnTo>
                    <a:pt x="540009" y="484987"/>
                  </a:lnTo>
                  <a:lnTo>
                    <a:pt x="493276" y="463281"/>
                  </a:lnTo>
                  <a:lnTo>
                    <a:pt x="447425" y="439883"/>
                  </a:lnTo>
                  <a:lnTo>
                    <a:pt x="402500" y="414823"/>
                  </a:lnTo>
                  <a:lnTo>
                    <a:pt x="358546" y="388129"/>
                  </a:lnTo>
                  <a:lnTo>
                    <a:pt x="315608" y="359829"/>
                  </a:lnTo>
                  <a:lnTo>
                    <a:pt x="273732" y="329951"/>
                  </a:lnTo>
                  <a:lnTo>
                    <a:pt x="232962" y="298525"/>
                  </a:lnTo>
                  <a:lnTo>
                    <a:pt x="193342" y="265578"/>
                  </a:lnTo>
                  <a:lnTo>
                    <a:pt x="154919" y="231139"/>
                  </a:lnTo>
                  <a:lnTo>
                    <a:pt x="117736" y="195236"/>
                  </a:lnTo>
                  <a:lnTo>
                    <a:pt x="81838" y="157899"/>
                  </a:lnTo>
                  <a:lnTo>
                    <a:pt x="0" y="220764"/>
                  </a:lnTo>
                  <a:lnTo>
                    <a:pt x="60756" y="12674"/>
                  </a:lnTo>
                  <a:lnTo>
                    <a:pt x="287401" y="0"/>
                  </a:lnTo>
                  <a:lnTo>
                    <a:pt x="205587" y="62839"/>
                  </a:lnTo>
                  <a:lnTo>
                    <a:pt x="242482" y="100138"/>
                  </a:lnTo>
                  <a:lnTo>
                    <a:pt x="280837" y="135759"/>
                  </a:lnTo>
                  <a:lnTo>
                    <a:pt x="320594" y="169664"/>
                  </a:lnTo>
                  <a:lnTo>
                    <a:pt x="361692" y="201818"/>
                  </a:lnTo>
                  <a:lnTo>
                    <a:pt x="404073" y="232183"/>
                  </a:lnTo>
                  <a:lnTo>
                    <a:pt x="447678" y="260721"/>
                  </a:lnTo>
                  <a:lnTo>
                    <a:pt x="492446" y="287396"/>
                  </a:lnTo>
                  <a:lnTo>
                    <a:pt x="538318" y="312171"/>
                  </a:lnTo>
                  <a:lnTo>
                    <a:pt x="585235" y="335009"/>
                  </a:lnTo>
                  <a:lnTo>
                    <a:pt x="633137" y="355872"/>
                  </a:lnTo>
                  <a:lnTo>
                    <a:pt x="681965" y="374724"/>
                  </a:lnTo>
                  <a:lnTo>
                    <a:pt x="731659" y="391528"/>
                  </a:lnTo>
                  <a:lnTo>
                    <a:pt x="685050" y="539673"/>
                  </a:lnTo>
                  <a:close/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4" name="object 34"/>
          <p:cNvSpPr txBox="1"/>
          <p:nvPr/>
        </p:nvSpPr>
        <p:spPr>
          <a:xfrm>
            <a:off x="7122049" y="677042"/>
            <a:ext cx="836294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276860">
              <a:lnSpc>
                <a:spcPct val="100000"/>
              </a:lnSpc>
              <a:spcBef>
                <a:spcPts val="100"/>
              </a:spcBef>
            </a:pPr>
            <a:r>
              <a:rPr sz="1200" b="1" spc="-35">
                <a:solidFill>
                  <a:srgbClr val="FFFFFF"/>
                </a:solidFill>
                <a:latin typeface="Calibri"/>
                <a:cs typeface="Calibri"/>
              </a:rPr>
              <a:t>Text  </a:t>
            </a:r>
            <a:r>
              <a:rPr sz="1200" b="1" spc="5">
                <a:solidFill>
                  <a:srgbClr val="FFFFFF"/>
                </a:solidFill>
                <a:latin typeface="Calibri"/>
                <a:cs typeface="Calibri"/>
              </a:rPr>
              <a:t>S</a:t>
            </a:r>
            <a:r>
              <a:rPr sz="1200" b="1">
                <a:solidFill>
                  <a:srgbClr val="FFFFFF"/>
                </a:solidFill>
                <a:latin typeface="Calibri"/>
                <a:cs typeface="Calibri"/>
              </a:rPr>
              <a:t>p</a:t>
            </a:r>
            <a:r>
              <a:rPr sz="1200" b="1" spc="-5">
                <a:solidFill>
                  <a:srgbClr val="FFFFFF"/>
                </a:solidFill>
                <a:latin typeface="Calibri"/>
                <a:cs typeface="Calibri"/>
              </a:rPr>
              <a:t>e</a:t>
            </a:r>
            <a:r>
              <a:rPr sz="1200" b="1">
                <a:solidFill>
                  <a:srgbClr val="FFFFFF"/>
                </a:solidFill>
                <a:latin typeface="Calibri"/>
                <a:cs typeface="Calibri"/>
              </a:rPr>
              <a:t>c</a:t>
            </a:r>
            <a:r>
              <a:rPr sz="1200" b="1" spc="-10">
                <a:solidFill>
                  <a:srgbClr val="FFFFFF"/>
                </a:solidFill>
                <a:latin typeface="Calibri"/>
                <a:cs typeface="Calibri"/>
              </a:rPr>
              <a:t>i</a:t>
            </a:r>
            <a:r>
              <a:rPr sz="1200" b="1" spc="5">
                <a:solidFill>
                  <a:srgbClr val="FFFFFF"/>
                </a:solidFill>
                <a:latin typeface="Calibri"/>
                <a:cs typeface="Calibri"/>
              </a:rPr>
              <a:t>f</a:t>
            </a:r>
            <a:r>
              <a:rPr sz="1200" b="1" spc="-10">
                <a:solidFill>
                  <a:srgbClr val="FFFFFF"/>
                </a:solidFill>
                <a:latin typeface="Calibri"/>
                <a:cs typeface="Calibri"/>
              </a:rPr>
              <a:t>i</a:t>
            </a:r>
            <a:r>
              <a:rPr sz="1200" b="1">
                <a:solidFill>
                  <a:srgbClr val="FFFFFF"/>
                </a:solidFill>
                <a:latin typeface="Calibri"/>
                <a:cs typeface="Calibri"/>
              </a:rPr>
              <a:t>c</a:t>
            </a:r>
            <a:r>
              <a:rPr sz="1200" b="1" spc="5">
                <a:solidFill>
                  <a:srgbClr val="FFFFFF"/>
                </a:solidFill>
                <a:latin typeface="Calibri"/>
                <a:cs typeface="Calibri"/>
              </a:rPr>
              <a:t>a</a:t>
            </a:r>
            <a:r>
              <a:rPr sz="1200" b="1" spc="-10">
                <a:solidFill>
                  <a:srgbClr val="FFFFFF"/>
                </a:solidFill>
                <a:latin typeface="Calibri"/>
                <a:cs typeface="Calibri"/>
              </a:rPr>
              <a:t>ti</a:t>
            </a:r>
            <a:r>
              <a:rPr sz="1200" b="1">
                <a:solidFill>
                  <a:srgbClr val="FFFFFF"/>
                </a:solidFill>
                <a:latin typeface="Calibri"/>
                <a:cs typeface="Calibri"/>
              </a:rPr>
              <a:t>on</a:t>
            </a:r>
            <a:endParaRPr sz="1200">
              <a:latin typeface="Calibri"/>
              <a:cs typeface="Calibri"/>
            </a:endParaRPr>
          </a:p>
        </p:txBody>
      </p:sp>
      <p:grpSp>
        <p:nvGrpSpPr>
          <p:cNvPr id="35" name="object 35"/>
          <p:cNvGrpSpPr/>
          <p:nvPr/>
        </p:nvGrpSpPr>
        <p:grpSpPr>
          <a:xfrm>
            <a:off x="551687" y="676655"/>
            <a:ext cx="1902460" cy="1987550"/>
            <a:chOff x="551687" y="676655"/>
            <a:chExt cx="1902460" cy="1987550"/>
          </a:xfrm>
        </p:grpSpPr>
        <p:pic>
          <p:nvPicPr>
            <p:cNvPr id="36" name="object 36"/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551687" y="676655"/>
              <a:ext cx="1901951" cy="1331975"/>
            </a:xfrm>
            <a:prstGeom prst="rect">
              <a:avLst/>
            </a:prstGeom>
          </p:spPr>
        </p:pic>
        <p:pic>
          <p:nvPicPr>
            <p:cNvPr id="37" name="object 37"/>
            <p:cNvPicPr/>
            <p:nvPr/>
          </p:nvPicPr>
          <p:blipFill>
            <a:blip r:embed="rId17" cstate="print"/>
            <a:stretch>
              <a:fillRect/>
            </a:stretch>
          </p:blipFill>
          <p:spPr>
            <a:xfrm>
              <a:off x="972311" y="1676400"/>
              <a:ext cx="1060703" cy="987551"/>
            </a:xfrm>
            <a:prstGeom prst="rect">
              <a:avLst/>
            </a:prstGeom>
          </p:spPr>
        </p:pic>
      </p:grpSp>
      <p:sp>
        <p:nvSpPr>
          <p:cNvPr id="42" name="object 2">
            <a:extLst>
              <a:ext uri="{FF2B5EF4-FFF2-40B4-BE49-F238E27FC236}">
                <a16:creationId xmlns:a16="http://schemas.microsoft.com/office/drawing/2014/main" id="{819DBC3D-6BD8-7E93-73C3-1A10241DF140}"/>
              </a:ext>
            </a:extLst>
          </p:cNvPr>
          <p:cNvSpPr txBox="1">
            <a:spLocks/>
          </p:cNvSpPr>
          <p:nvPr/>
        </p:nvSpPr>
        <p:spPr>
          <a:xfrm>
            <a:off x="76200" y="375790"/>
            <a:ext cx="3338513" cy="381515"/>
          </a:xfrm>
          <a:prstGeom prst="rect">
            <a:avLst/>
          </a:prstGeom>
        </p:spPr>
        <p:txBody>
          <a:bodyPr vert="horz" wrap="square" lIns="0" tIns="12065" rIns="0" bIns="0" rtlCol="0" anchor="t">
            <a:spAutoFit/>
          </a:bodyPr>
          <a:lstStyle>
            <a:lvl1pPr algn="l" defTabSz="91437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 cap="none" spc="40" baseline="0">
                <a:solidFill>
                  <a:schemeClr val="tx2"/>
                </a:solidFill>
                <a:latin typeface="Gill Sans MT" panose="020B0502020104020203" pitchFamily="34" charset="0"/>
                <a:ea typeface="+mj-ea"/>
                <a:cs typeface="+mj-cs"/>
              </a:defRPr>
            </a:lvl1pPr>
          </a:lstStyle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b="1" spc="55">
                <a:solidFill>
                  <a:schemeClr val="accent4"/>
                </a:solidFill>
                <a:latin typeface="Times New Roman"/>
                <a:cs typeface="Times New Roman"/>
              </a:rPr>
              <a:t>Digitalization</a:t>
            </a:r>
          </a:p>
        </p:txBody>
      </p:sp>
    </p:spTree>
    <p:extLst>
      <p:ext uri="{BB962C8B-B14F-4D97-AF65-F5344CB8AC3E}">
        <p14:creationId xmlns:p14="http://schemas.microsoft.com/office/powerpoint/2010/main" val="33514998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 descr="Ein Bild, das Person, Mann, Krankenhauszimmer, Raum enthält.&#10;&#10;Automatisch generierte Beschreibung">
            <a:extLst>
              <a:ext uri="{FF2B5EF4-FFF2-40B4-BE49-F238E27FC236}">
                <a16:creationId xmlns:a16="http://schemas.microsoft.com/office/drawing/2014/main" id="{F3AFE981-FAFD-491F-89D4-3C44411CE06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988" y="0"/>
            <a:ext cx="4470400" cy="68580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0" y="19304"/>
            <a:ext cx="4464424" cy="6864096"/>
          </a:xfrm>
          <a:prstGeom prst="rect">
            <a:avLst/>
          </a:prstGeom>
          <a:gradFill flip="none" rotWithShape="1">
            <a:gsLst>
              <a:gs pos="50000">
                <a:srgbClr val="449ABE">
                  <a:alpha val="22000"/>
                </a:srgbClr>
              </a:gs>
              <a:gs pos="0">
                <a:schemeClr val="accent1">
                  <a:alpha val="37000"/>
                </a:schemeClr>
              </a:gs>
              <a:gs pos="100000">
                <a:schemeClr val="accent2">
                  <a:alpha val="49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400"/>
          </a:p>
        </p:txBody>
      </p:sp>
      <p:sp>
        <p:nvSpPr>
          <p:cNvPr id="9" name="Rectangle 8"/>
          <p:cNvSpPr/>
          <p:nvPr/>
        </p:nvSpPr>
        <p:spPr>
          <a:xfrm>
            <a:off x="5348847" y="971479"/>
            <a:ext cx="609600" cy="609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133">
                <a:latin typeface="Gill Sans MT" panose="020B0502020104020203" pitchFamily="34" charset="0"/>
              </a:rPr>
              <a:t>01.</a:t>
            </a:r>
          </a:p>
        </p:txBody>
      </p:sp>
      <p:sp>
        <p:nvSpPr>
          <p:cNvPr id="10" name="Rectangle 9"/>
          <p:cNvSpPr/>
          <p:nvPr/>
        </p:nvSpPr>
        <p:spPr>
          <a:xfrm>
            <a:off x="6153268" y="1050576"/>
            <a:ext cx="1774491" cy="451405"/>
          </a:xfrm>
          <a:prstGeom prst="rect">
            <a:avLst/>
          </a:prstGeom>
        </p:spPr>
        <p:txBody>
          <a:bodyPr wrap="none" anchor="ctr">
            <a:noAutofit/>
          </a:bodyPr>
          <a:lstStyle>
            <a:defPPr>
              <a:defRPr lang="en-US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spc="40" dirty="0">
                <a:solidFill>
                  <a:schemeClr val="accent1"/>
                </a:solidFill>
                <a:latin typeface="Gill Sans MT" panose="020B0502020104020203" pitchFamily="34" charset="0"/>
                <a:ea typeface="+mj-ea"/>
                <a:cs typeface="+mj-cs"/>
              </a:rPr>
              <a:t>Background</a:t>
            </a:r>
            <a:endParaRPr lang="en-US" sz="2800" spc="40" dirty="0">
              <a:solidFill>
                <a:schemeClr val="accent1"/>
              </a:solidFill>
              <a:latin typeface="Gill Sans MT" panose="020B0502020104020203" pitchFamily="34" charset="0"/>
              <a:ea typeface="+mj-ea"/>
              <a:cs typeface="+mj-c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348847" y="2047840"/>
            <a:ext cx="609600" cy="609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133">
                <a:latin typeface="Gill Sans MT" panose="020B0502020104020203" pitchFamily="34" charset="0"/>
              </a:rPr>
              <a:t>02.</a:t>
            </a:r>
          </a:p>
        </p:txBody>
      </p:sp>
      <p:sp>
        <p:nvSpPr>
          <p:cNvPr id="13" name="Rectangle 12"/>
          <p:cNvSpPr/>
          <p:nvPr/>
        </p:nvSpPr>
        <p:spPr>
          <a:xfrm>
            <a:off x="6153268" y="2126936"/>
            <a:ext cx="5120640" cy="451405"/>
          </a:xfrm>
          <a:prstGeom prst="rect">
            <a:avLst/>
          </a:prstGeom>
        </p:spPr>
        <p:txBody>
          <a:bodyPr wrap="none" anchor="ctr">
            <a:noAutofit/>
          </a:bodyPr>
          <a:lstStyle>
            <a:defPPr>
              <a:defRPr lang="en-US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spc="40" dirty="0">
                <a:solidFill>
                  <a:schemeClr val="accent1"/>
                </a:solidFill>
                <a:latin typeface="Gill Sans MT" panose="020B0502020104020203" pitchFamily="34" charset="0"/>
                <a:ea typeface="+mj-ea"/>
                <a:cs typeface="+mj-cs"/>
              </a:rPr>
              <a:t>AI Progress</a:t>
            </a:r>
          </a:p>
        </p:txBody>
      </p:sp>
      <p:sp>
        <p:nvSpPr>
          <p:cNvPr id="15" name="Rectangle 14"/>
          <p:cNvSpPr/>
          <p:nvPr/>
        </p:nvSpPr>
        <p:spPr>
          <a:xfrm>
            <a:off x="5348847" y="3124200"/>
            <a:ext cx="609600" cy="609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133">
                <a:latin typeface="Gill Sans MT" panose="020B0502020104020203" pitchFamily="34" charset="0"/>
              </a:rPr>
              <a:t>03.</a:t>
            </a:r>
          </a:p>
        </p:txBody>
      </p:sp>
      <p:sp>
        <p:nvSpPr>
          <p:cNvPr id="16" name="Rectangle 15"/>
          <p:cNvSpPr/>
          <p:nvPr/>
        </p:nvSpPr>
        <p:spPr>
          <a:xfrm>
            <a:off x="6153267" y="3203296"/>
            <a:ext cx="5120640" cy="451405"/>
          </a:xfrm>
          <a:prstGeom prst="rect">
            <a:avLst/>
          </a:prstGeom>
        </p:spPr>
        <p:txBody>
          <a:bodyPr wrap="none" anchor="ctr">
            <a:noAutofit/>
          </a:bodyPr>
          <a:lstStyle>
            <a:defPPr>
              <a:defRPr lang="en-US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spc="40" dirty="0">
                <a:solidFill>
                  <a:schemeClr val="accent1"/>
                </a:solidFill>
                <a:latin typeface="Gill Sans MT" panose="020B0502020104020203" pitchFamily="34" charset="0"/>
                <a:ea typeface="+mj-ea"/>
                <a:cs typeface="+mj-cs"/>
              </a:rPr>
              <a:t>The Power of R</a:t>
            </a:r>
            <a:endParaRPr lang="en-US" sz="2400" spc="40" dirty="0">
              <a:solidFill>
                <a:schemeClr val="accent1"/>
              </a:solidFill>
              <a:latin typeface="Gill Sans MT" panose="020B0502020104020203" pitchFamily="34" charset="0"/>
              <a:ea typeface="+mj-ea"/>
              <a:cs typeface="+mj-cs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5348847" y="4143410"/>
            <a:ext cx="609600" cy="609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133">
                <a:latin typeface="Gill Sans MT" panose="020B0502020104020203" pitchFamily="34" charset="0"/>
              </a:rPr>
              <a:t>04.</a:t>
            </a:r>
          </a:p>
        </p:txBody>
      </p:sp>
      <p:sp>
        <p:nvSpPr>
          <p:cNvPr id="19" name="Rectangle 18"/>
          <p:cNvSpPr/>
          <p:nvPr/>
        </p:nvSpPr>
        <p:spPr>
          <a:xfrm>
            <a:off x="6153267" y="4222506"/>
            <a:ext cx="5120640" cy="451405"/>
          </a:xfrm>
          <a:prstGeom prst="rect">
            <a:avLst/>
          </a:prstGeom>
        </p:spPr>
        <p:txBody>
          <a:bodyPr wrap="none" anchor="ctr">
            <a:noAutofit/>
          </a:bodyPr>
          <a:lstStyle>
            <a:defPPr>
              <a:defRPr lang="en-US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spc="40" dirty="0">
                <a:solidFill>
                  <a:schemeClr val="accent1"/>
                </a:solidFill>
                <a:latin typeface="Gill Sans MT" panose="020B0502020104020203" pitchFamily="34" charset="0"/>
                <a:ea typeface="+mj-ea"/>
                <a:cs typeface="+mj-cs"/>
              </a:rPr>
              <a:t>Case Sharing</a:t>
            </a:r>
            <a:endParaRPr lang="en-US" sz="2400" spc="40" dirty="0">
              <a:solidFill>
                <a:schemeClr val="accent1"/>
              </a:solidFill>
              <a:latin typeface="Gill Sans MT" panose="020B0502020104020203" pitchFamily="34" charset="0"/>
              <a:ea typeface="+mj-ea"/>
              <a:cs typeface="+mj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D379EBC-2C00-4C8B-B83C-53862C11869A}"/>
              </a:ext>
            </a:extLst>
          </p:cNvPr>
          <p:cNvSpPr/>
          <p:nvPr/>
        </p:nvSpPr>
        <p:spPr>
          <a:xfrm>
            <a:off x="5348847" y="5048442"/>
            <a:ext cx="609600" cy="609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133">
                <a:latin typeface="Gill Sans MT" panose="020B0502020104020203" pitchFamily="34" charset="0"/>
              </a:rPr>
              <a:t>05.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6F7B3BC-4EFF-46AF-A235-6F9B1A24B266}"/>
              </a:ext>
            </a:extLst>
          </p:cNvPr>
          <p:cNvSpPr/>
          <p:nvPr/>
        </p:nvSpPr>
        <p:spPr>
          <a:xfrm>
            <a:off x="6153267" y="5127539"/>
            <a:ext cx="5120640" cy="451405"/>
          </a:xfrm>
          <a:prstGeom prst="rect">
            <a:avLst/>
          </a:prstGeom>
        </p:spPr>
        <p:txBody>
          <a:bodyPr wrap="none" anchor="ctr">
            <a:noAutofit/>
          </a:bodyPr>
          <a:lstStyle>
            <a:defPPr>
              <a:defRPr lang="en-US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 spc="40" dirty="0">
                <a:solidFill>
                  <a:schemeClr val="accent1"/>
                </a:solidFill>
                <a:latin typeface="Gill Sans MT" panose="020B0502020104020203" pitchFamily="34" charset="0"/>
                <a:ea typeface="+mj-ea"/>
                <a:cs typeface="+mj-cs"/>
              </a:rPr>
              <a:t>Discussion</a:t>
            </a:r>
            <a:endParaRPr lang="en-US" sz="2400" spc="40" dirty="0">
              <a:solidFill>
                <a:schemeClr val="accent1"/>
              </a:solidFill>
              <a:latin typeface="Gill Sans MT" panose="020B0502020104020203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5886561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object 28"/>
          <p:cNvSpPr txBox="1"/>
          <p:nvPr/>
        </p:nvSpPr>
        <p:spPr>
          <a:xfrm>
            <a:off x="2189482" y="5741947"/>
            <a:ext cx="2464435" cy="10604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z="500" u="sng" spc="10">
                <a:solidFill>
                  <a:srgbClr val="68D2DF"/>
                </a:solidFill>
                <a:uFill>
                  <a:solidFill>
                    <a:srgbClr val="68D2DF"/>
                  </a:solidFill>
                </a:uFill>
                <a:latin typeface="Arial"/>
                <a:cs typeface="Arial"/>
                <a:hlinkClick r:id="rId2"/>
              </a:rPr>
              <a:t>ConvergeHEALTH </a:t>
            </a:r>
            <a:r>
              <a:rPr sz="500" u="sng" spc="5">
                <a:solidFill>
                  <a:srgbClr val="68D2DF"/>
                </a:solidFill>
                <a:uFill>
                  <a:solidFill>
                    <a:srgbClr val="68D2DF"/>
                  </a:solidFill>
                </a:uFill>
                <a:latin typeface="Arial"/>
                <a:cs typeface="Arial"/>
                <a:hlinkClick r:id="rId2"/>
              </a:rPr>
              <a:t>| Using </a:t>
            </a:r>
            <a:r>
              <a:rPr sz="500" u="sng" spc="15">
                <a:solidFill>
                  <a:srgbClr val="68D2DF"/>
                </a:solidFill>
                <a:uFill>
                  <a:solidFill>
                    <a:srgbClr val="68D2DF"/>
                  </a:solidFill>
                </a:uFill>
                <a:latin typeface="Arial"/>
                <a:cs typeface="Arial"/>
                <a:hlinkClick r:id="rId2"/>
              </a:rPr>
              <a:t>AI </a:t>
            </a:r>
            <a:r>
              <a:rPr sz="500" u="sng" spc="5">
                <a:solidFill>
                  <a:srgbClr val="68D2DF"/>
                </a:solidFill>
                <a:uFill>
                  <a:solidFill>
                    <a:srgbClr val="68D2DF"/>
                  </a:solidFill>
                </a:uFill>
                <a:latin typeface="Arial"/>
                <a:cs typeface="Arial"/>
                <a:hlinkClick r:id="rId2"/>
              </a:rPr>
              <a:t>to automate </a:t>
            </a:r>
            <a:r>
              <a:rPr sz="500" u="sng">
                <a:solidFill>
                  <a:srgbClr val="68D2DF"/>
                </a:solidFill>
                <a:uFill>
                  <a:solidFill>
                    <a:srgbClr val="68D2DF"/>
                  </a:solidFill>
                </a:uFill>
                <a:latin typeface="Arial"/>
                <a:cs typeface="Arial"/>
                <a:hlinkClick r:id="rId2"/>
              </a:rPr>
              <a:t>clinical </a:t>
            </a:r>
            <a:r>
              <a:rPr sz="500" u="sng" spc="5">
                <a:solidFill>
                  <a:srgbClr val="68D2DF"/>
                </a:solidFill>
                <a:uFill>
                  <a:solidFill>
                    <a:srgbClr val="68D2DF"/>
                  </a:solidFill>
                </a:uFill>
                <a:latin typeface="Arial"/>
                <a:cs typeface="Arial"/>
                <a:hlinkClick r:id="rId2"/>
              </a:rPr>
              <a:t>data, </a:t>
            </a:r>
            <a:r>
              <a:rPr sz="500" u="sng" spc="20">
                <a:solidFill>
                  <a:srgbClr val="68D2DF"/>
                </a:solidFill>
                <a:uFill>
                  <a:solidFill>
                    <a:srgbClr val="68D2DF"/>
                  </a:solidFill>
                </a:uFill>
                <a:latin typeface="Arial"/>
                <a:cs typeface="Arial"/>
                <a:hlinkClick r:id="rId2"/>
              </a:rPr>
              <a:t>from </a:t>
            </a:r>
            <a:r>
              <a:rPr sz="500" u="sng" spc="15">
                <a:solidFill>
                  <a:srgbClr val="68D2DF"/>
                </a:solidFill>
                <a:uFill>
                  <a:solidFill>
                    <a:srgbClr val="68D2DF"/>
                  </a:solidFill>
                </a:uFill>
                <a:latin typeface="Arial"/>
                <a:cs typeface="Arial"/>
                <a:hlinkClick r:id="rId2"/>
              </a:rPr>
              <a:t>protocol</a:t>
            </a:r>
            <a:r>
              <a:rPr sz="500" u="sng" spc="-95">
                <a:solidFill>
                  <a:srgbClr val="68D2DF"/>
                </a:solidFill>
                <a:uFill>
                  <a:solidFill>
                    <a:srgbClr val="68D2DF"/>
                  </a:solidFill>
                </a:uFill>
                <a:latin typeface="Arial"/>
                <a:cs typeface="Arial"/>
                <a:hlinkClick r:id="rId2"/>
              </a:rPr>
              <a:t> </a:t>
            </a:r>
            <a:r>
              <a:rPr sz="500" u="sng" spc="5">
                <a:solidFill>
                  <a:srgbClr val="68D2DF"/>
                </a:solidFill>
                <a:uFill>
                  <a:solidFill>
                    <a:srgbClr val="68D2DF"/>
                  </a:solidFill>
                </a:uFill>
                <a:latin typeface="Arial"/>
                <a:cs typeface="Arial"/>
                <a:hlinkClick r:id="rId2"/>
              </a:rPr>
              <a:t>to </a:t>
            </a:r>
            <a:r>
              <a:rPr sz="500" u="sng" spc="10">
                <a:solidFill>
                  <a:srgbClr val="68D2DF"/>
                </a:solidFill>
                <a:uFill>
                  <a:solidFill>
                    <a:srgbClr val="68D2DF"/>
                  </a:solidFill>
                </a:uFill>
                <a:latin typeface="Arial"/>
                <a:cs typeface="Arial"/>
                <a:hlinkClick r:id="rId2"/>
              </a:rPr>
              <a:t>submission</a:t>
            </a:r>
            <a:endParaRPr sz="500">
              <a:latin typeface="Arial"/>
              <a:cs typeface="Arial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2189464" y="5888264"/>
            <a:ext cx="2171700" cy="106045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z="500" u="sng" spc="5">
                <a:solidFill>
                  <a:srgbClr val="68D2DF"/>
                </a:solidFill>
                <a:uFill>
                  <a:solidFill>
                    <a:srgbClr val="68D2DF"/>
                  </a:solidFill>
                </a:uFill>
                <a:latin typeface="Arial"/>
                <a:cs typeface="Arial"/>
                <a:hlinkClick r:id="rId3"/>
              </a:rPr>
              <a:t>Using</a:t>
            </a:r>
            <a:r>
              <a:rPr sz="500" u="sng" spc="-5">
                <a:solidFill>
                  <a:srgbClr val="68D2DF"/>
                </a:solidFill>
                <a:uFill>
                  <a:solidFill>
                    <a:srgbClr val="68D2DF"/>
                  </a:solidFill>
                </a:uFill>
                <a:latin typeface="Arial"/>
                <a:cs typeface="Arial"/>
                <a:hlinkClick r:id="rId3"/>
              </a:rPr>
              <a:t> </a:t>
            </a:r>
            <a:r>
              <a:rPr sz="500" u="sng" spc="15">
                <a:solidFill>
                  <a:srgbClr val="68D2DF"/>
                </a:solidFill>
                <a:uFill>
                  <a:solidFill>
                    <a:srgbClr val="68D2DF"/>
                  </a:solidFill>
                </a:uFill>
                <a:latin typeface="Arial"/>
                <a:cs typeface="Arial"/>
                <a:hlinkClick r:id="rId3"/>
              </a:rPr>
              <a:t>AI</a:t>
            </a:r>
            <a:r>
              <a:rPr sz="500" u="sng" spc="30">
                <a:solidFill>
                  <a:srgbClr val="68D2DF"/>
                </a:solidFill>
                <a:uFill>
                  <a:solidFill>
                    <a:srgbClr val="68D2DF"/>
                  </a:solidFill>
                </a:uFill>
                <a:latin typeface="Arial"/>
                <a:cs typeface="Arial"/>
                <a:hlinkClick r:id="rId3"/>
              </a:rPr>
              <a:t> </a:t>
            </a:r>
            <a:r>
              <a:rPr sz="500" u="sng" spc="5">
                <a:solidFill>
                  <a:srgbClr val="68D2DF"/>
                </a:solidFill>
                <a:uFill>
                  <a:solidFill>
                    <a:srgbClr val="68D2DF"/>
                  </a:solidFill>
                </a:uFill>
                <a:latin typeface="Arial"/>
                <a:cs typeface="Arial"/>
                <a:hlinkClick r:id="rId3"/>
              </a:rPr>
              <a:t>to</a:t>
            </a:r>
            <a:r>
              <a:rPr sz="500" u="sng" spc="-5">
                <a:solidFill>
                  <a:srgbClr val="68D2DF"/>
                </a:solidFill>
                <a:uFill>
                  <a:solidFill>
                    <a:srgbClr val="68D2DF"/>
                  </a:solidFill>
                </a:uFill>
                <a:latin typeface="Arial"/>
                <a:cs typeface="Arial"/>
                <a:hlinkClick r:id="rId3"/>
              </a:rPr>
              <a:t> </a:t>
            </a:r>
            <a:r>
              <a:rPr sz="500" u="sng" spc="5">
                <a:solidFill>
                  <a:srgbClr val="68D2DF"/>
                </a:solidFill>
                <a:uFill>
                  <a:solidFill>
                    <a:srgbClr val="68D2DF"/>
                  </a:solidFill>
                </a:uFill>
                <a:latin typeface="Arial"/>
                <a:cs typeface="Arial"/>
                <a:hlinkClick r:id="rId3"/>
              </a:rPr>
              <a:t>drive</a:t>
            </a:r>
            <a:r>
              <a:rPr sz="500" u="sng">
                <a:solidFill>
                  <a:srgbClr val="68D2DF"/>
                </a:solidFill>
                <a:uFill>
                  <a:solidFill>
                    <a:srgbClr val="68D2DF"/>
                  </a:solidFill>
                </a:uFill>
                <a:latin typeface="Arial"/>
                <a:cs typeface="Arial"/>
                <a:hlinkClick r:id="rId3"/>
              </a:rPr>
              <a:t> </a:t>
            </a:r>
            <a:r>
              <a:rPr sz="500" u="sng" spc="5">
                <a:solidFill>
                  <a:srgbClr val="68D2DF"/>
                </a:solidFill>
                <a:uFill>
                  <a:solidFill>
                    <a:srgbClr val="68D2DF"/>
                  </a:solidFill>
                </a:uFill>
                <a:latin typeface="Arial"/>
                <a:cs typeface="Arial"/>
                <a:hlinkClick r:id="rId3"/>
              </a:rPr>
              <a:t>automation</a:t>
            </a:r>
            <a:r>
              <a:rPr sz="500" u="sng" spc="-5">
                <a:solidFill>
                  <a:srgbClr val="68D2DF"/>
                </a:solidFill>
                <a:uFill>
                  <a:solidFill>
                    <a:srgbClr val="68D2DF"/>
                  </a:solidFill>
                </a:uFill>
                <a:latin typeface="Arial"/>
                <a:cs typeface="Arial"/>
                <a:hlinkClick r:id="rId3"/>
              </a:rPr>
              <a:t> </a:t>
            </a:r>
            <a:r>
              <a:rPr sz="500" u="sng" spc="20">
                <a:solidFill>
                  <a:srgbClr val="68D2DF"/>
                </a:solidFill>
                <a:uFill>
                  <a:solidFill>
                    <a:srgbClr val="68D2DF"/>
                  </a:solidFill>
                </a:uFill>
                <a:latin typeface="Arial"/>
                <a:cs typeface="Arial"/>
                <a:hlinkClick r:id="rId3"/>
              </a:rPr>
              <a:t>for</a:t>
            </a:r>
            <a:r>
              <a:rPr sz="500" u="sng" spc="-50">
                <a:solidFill>
                  <a:srgbClr val="68D2DF"/>
                </a:solidFill>
                <a:uFill>
                  <a:solidFill>
                    <a:srgbClr val="68D2DF"/>
                  </a:solidFill>
                </a:uFill>
                <a:latin typeface="Arial"/>
                <a:cs typeface="Arial"/>
                <a:hlinkClick r:id="rId3"/>
              </a:rPr>
              <a:t> </a:t>
            </a:r>
            <a:r>
              <a:rPr sz="500" u="sng">
                <a:solidFill>
                  <a:srgbClr val="68D2DF"/>
                </a:solidFill>
                <a:uFill>
                  <a:solidFill>
                    <a:srgbClr val="68D2DF"/>
                  </a:solidFill>
                </a:uFill>
                <a:latin typeface="Arial"/>
                <a:cs typeface="Arial"/>
                <a:hlinkClick r:id="rId3"/>
              </a:rPr>
              <a:t>clinical</a:t>
            </a:r>
            <a:r>
              <a:rPr sz="500" u="sng" spc="30">
                <a:solidFill>
                  <a:srgbClr val="68D2DF"/>
                </a:solidFill>
                <a:uFill>
                  <a:solidFill>
                    <a:srgbClr val="68D2DF"/>
                  </a:solidFill>
                </a:uFill>
                <a:latin typeface="Arial"/>
                <a:cs typeface="Arial"/>
                <a:hlinkClick r:id="rId3"/>
              </a:rPr>
              <a:t> </a:t>
            </a:r>
            <a:r>
              <a:rPr sz="500" u="sng" spc="5">
                <a:solidFill>
                  <a:srgbClr val="68D2DF"/>
                </a:solidFill>
                <a:uFill>
                  <a:solidFill>
                    <a:srgbClr val="68D2DF"/>
                  </a:solidFill>
                </a:uFill>
                <a:latin typeface="Arial"/>
                <a:cs typeface="Arial"/>
                <a:hlinkClick r:id="rId3"/>
              </a:rPr>
              <a:t>data,</a:t>
            </a:r>
            <a:r>
              <a:rPr sz="500" u="sng" spc="30">
                <a:solidFill>
                  <a:srgbClr val="68D2DF"/>
                </a:solidFill>
                <a:uFill>
                  <a:solidFill>
                    <a:srgbClr val="68D2DF"/>
                  </a:solidFill>
                </a:uFill>
                <a:latin typeface="Arial"/>
                <a:cs typeface="Arial"/>
                <a:hlinkClick r:id="rId3"/>
              </a:rPr>
              <a:t> </a:t>
            </a:r>
            <a:r>
              <a:rPr sz="500" u="sng" spc="20">
                <a:solidFill>
                  <a:srgbClr val="68D2DF"/>
                </a:solidFill>
                <a:uFill>
                  <a:solidFill>
                    <a:srgbClr val="68D2DF"/>
                  </a:solidFill>
                </a:uFill>
                <a:latin typeface="Arial"/>
                <a:cs typeface="Arial"/>
                <a:hlinkClick r:id="rId3"/>
              </a:rPr>
              <a:t>from</a:t>
            </a:r>
            <a:r>
              <a:rPr sz="500" u="sng" spc="-30">
                <a:solidFill>
                  <a:srgbClr val="68D2DF"/>
                </a:solidFill>
                <a:uFill>
                  <a:solidFill>
                    <a:srgbClr val="68D2DF"/>
                  </a:solidFill>
                </a:uFill>
                <a:latin typeface="Arial"/>
                <a:cs typeface="Arial"/>
                <a:hlinkClick r:id="rId3"/>
              </a:rPr>
              <a:t> </a:t>
            </a:r>
            <a:r>
              <a:rPr sz="500" u="sng" spc="15">
                <a:solidFill>
                  <a:srgbClr val="68D2DF"/>
                </a:solidFill>
                <a:uFill>
                  <a:solidFill>
                    <a:srgbClr val="68D2DF"/>
                  </a:solidFill>
                </a:uFill>
                <a:latin typeface="Arial"/>
                <a:cs typeface="Arial"/>
                <a:hlinkClick r:id="rId3"/>
              </a:rPr>
              <a:t>protocol</a:t>
            </a:r>
            <a:r>
              <a:rPr sz="500" u="sng" spc="-60">
                <a:solidFill>
                  <a:srgbClr val="68D2DF"/>
                </a:solidFill>
                <a:uFill>
                  <a:solidFill>
                    <a:srgbClr val="68D2DF"/>
                  </a:solidFill>
                </a:uFill>
                <a:latin typeface="Arial"/>
                <a:cs typeface="Arial"/>
                <a:hlinkClick r:id="rId3"/>
              </a:rPr>
              <a:t> </a:t>
            </a:r>
            <a:r>
              <a:rPr sz="500" u="sng" spc="5">
                <a:solidFill>
                  <a:srgbClr val="68D2DF"/>
                </a:solidFill>
                <a:uFill>
                  <a:solidFill>
                    <a:srgbClr val="68D2DF"/>
                  </a:solidFill>
                </a:uFill>
                <a:latin typeface="Arial"/>
                <a:cs typeface="Arial"/>
                <a:hlinkClick r:id="rId3"/>
              </a:rPr>
              <a:t>to</a:t>
            </a:r>
            <a:r>
              <a:rPr sz="500" u="sng" spc="20">
                <a:solidFill>
                  <a:srgbClr val="68D2DF"/>
                </a:solidFill>
                <a:uFill>
                  <a:solidFill>
                    <a:srgbClr val="68D2DF"/>
                  </a:solidFill>
                </a:uFill>
                <a:latin typeface="Arial"/>
                <a:cs typeface="Arial"/>
                <a:hlinkClick r:id="rId3"/>
              </a:rPr>
              <a:t> </a:t>
            </a:r>
            <a:r>
              <a:rPr sz="500" u="sng" spc="10">
                <a:solidFill>
                  <a:srgbClr val="68D2DF"/>
                </a:solidFill>
                <a:uFill>
                  <a:solidFill>
                    <a:srgbClr val="68D2DF"/>
                  </a:solidFill>
                </a:uFill>
                <a:latin typeface="Arial"/>
                <a:cs typeface="Arial"/>
                <a:hlinkClick r:id="rId3"/>
              </a:rPr>
              <a:t>submission</a:t>
            </a:r>
            <a:endParaRPr sz="500">
              <a:latin typeface="Arial"/>
              <a:cs typeface="Arial"/>
            </a:endParaRPr>
          </a:p>
        </p:txBody>
      </p:sp>
      <p:pic>
        <p:nvPicPr>
          <p:cNvPr id="30" name="object 30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905000" y="1344217"/>
            <a:ext cx="7245146" cy="3999556"/>
          </a:xfrm>
          <a:prstGeom prst="rect">
            <a:avLst/>
          </a:prstGeom>
        </p:spPr>
      </p:pic>
      <p:sp>
        <p:nvSpPr>
          <p:cNvPr id="36" name="文本占位符 35">
            <a:extLst>
              <a:ext uri="{FF2B5EF4-FFF2-40B4-BE49-F238E27FC236}">
                <a16:creationId xmlns:a16="http://schemas.microsoft.com/office/drawing/2014/main" id="{67171E9B-FEAF-0AC7-B219-C8A08CB25B6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2" name="object 32"/>
          <p:cNvSpPr txBox="1">
            <a:spLocks noGrp="1"/>
          </p:cNvSpPr>
          <p:nvPr>
            <p:ph type="title" idx="4294967295"/>
          </p:nvPr>
        </p:nvSpPr>
        <p:spPr>
          <a:xfrm>
            <a:off x="344559" y="466277"/>
            <a:ext cx="5684108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b="1" spc="-10" dirty="0">
                <a:solidFill>
                  <a:schemeClr val="accent4"/>
                </a:solidFill>
                <a:latin typeface="Times New Roman"/>
                <a:cs typeface="Times New Roman"/>
              </a:rPr>
              <a:t>Current </a:t>
            </a:r>
            <a:r>
              <a:rPr sz="2400" b="1" spc="55" dirty="0">
                <a:solidFill>
                  <a:schemeClr val="accent4"/>
                </a:solidFill>
                <a:latin typeface="Times New Roman"/>
                <a:cs typeface="Times New Roman"/>
              </a:rPr>
              <a:t>Clinical </a:t>
            </a:r>
            <a:r>
              <a:rPr sz="2400" b="1" spc="70" dirty="0">
                <a:solidFill>
                  <a:schemeClr val="accent4"/>
                </a:solidFill>
                <a:latin typeface="Times New Roman"/>
                <a:cs typeface="Times New Roman"/>
              </a:rPr>
              <a:t>Data </a:t>
            </a:r>
            <a:r>
              <a:rPr sz="2400" b="1" spc="55" dirty="0">
                <a:solidFill>
                  <a:schemeClr val="accent4"/>
                </a:solidFill>
                <a:latin typeface="Times New Roman"/>
                <a:cs typeface="Times New Roman"/>
              </a:rPr>
              <a:t>Analysis</a:t>
            </a:r>
            <a:r>
              <a:rPr sz="2400" b="1" spc="-295" dirty="0">
                <a:solidFill>
                  <a:schemeClr val="accent4"/>
                </a:solidFill>
                <a:latin typeface="Times New Roman"/>
                <a:cs typeface="Times New Roman"/>
              </a:rPr>
              <a:t> </a:t>
            </a:r>
            <a:r>
              <a:rPr sz="2400" b="1" spc="114" dirty="0">
                <a:solidFill>
                  <a:schemeClr val="accent4"/>
                </a:solidFill>
                <a:latin typeface="Times New Roman"/>
                <a:cs typeface="Times New Roman"/>
              </a:rPr>
              <a:t>Flow</a:t>
            </a:r>
            <a:endParaRPr sz="2400" dirty="0">
              <a:solidFill>
                <a:schemeClr val="accent4"/>
              </a:solidFill>
              <a:latin typeface="Times New Roman"/>
              <a:cs typeface="Times New Roman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28675" y="4397410"/>
            <a:ext cx="3818254" cy="193611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518795">
              <a:lnSpc>
                <a:spcPct val="100000"/>
              </a:lnSpc>
              <a:spcBef>
                <a:spcPts val="100"/>
              </a:spcBef>
            </a:pPr>
            <a:r>
              <a:rPr sz="1100" b="1" spc="-5">
                <a:solidFill>
                  <a:srgbClr val="3E4444"/>
                </a:solidFill>
                <a:latin typeface="Calibri"/>
                <a:cs typeface="Calibri"/>
              </a:rPr>
              <a:t>Tesla </a:t>
            </a:r>
            <a:r>
              <a:rPr sz="1100" b="1">
                <a:solidFill>
                  <a:srgbClr val="3E4444"/>
                </a:solidFill>
                <a:latin typeface="Calibri"/>
                <a:cs typeface="Calibri"/>
              </a:rPr>
              <a:t>Gigafactory 3</a:t>
            </a:r>
            <a:r>
              <a:rPr sz="1100" b="1" spc="-30">
                <a:solidFill>
                  <a:srgbClr val="3E4444"/>
                </a:solidFill>
                <a:latin typeface="Calibri"/>
                <a:cs typeface="Calibri"/>
              </a:rPr>
              <a:t> </a:t>
            </a:r>
            <a:r>
              <a:rPr sz="1100" b="1" spc="5">
                <a:solidFill>
                  <a:srgbClr val="3E4444"/>
                </a:solidFill>
                <a:latin typeface="Calibri"/>
                <a:cs typeface="Calibri"/>
              </a:rPr>
              <a:t>Shanghai</a:t>
            </a:r>
            <a:endParaRPr sz="1100">
              <a:latin typeface="Calibri"/>
              <a:cs typeface="Calibri"/>
            </a:endParaRPr>
          </a:p>
          <a:p>
            <a:pPr marL="518795">
              <a:lnSpc>
                <a:spcPct val="100000"/>
              </a:lnSpc>
            </a:pPr>
            <a:r>
              <a:rPr sz="1100" u="sng" spc="-5">
                <a:solidFill>
                  <a:srgbClr val="3E4444"/>
                </a:solidFill>
                <a:uFill>
                  <a:solidFill>
                    <a:srgbClr val="3E4444"/>
                  </a:solidFill>
                </a:uFill>
                <a:latin typeface="Calibri"/>
                <a:cs typeface="Calibri"/>
                <a:hlinkClick r:id="rId2"/>
              </a:rPr>
              <a:t>https://www.youtube.com/watch?v=-Ds1xV7M2gI</a:t>
            </a:r>
            <a:endParaRPr sz="1100">
              <a:latin typeface="Calibri"/>
              <a:cs typeface="Calibri"/>
            </a:endParaRPr>
          </a:p>
          <a:p>
            <a:pPr>
              <a:lnSpc>
                <a:spcPct val="100000"/>
              </a:lnSpc>
            </a:pPr>
            <a:endParaRPr sz="1100">
              <a:latin typeface="Calibri"/>
              <a:cs typeface="Calibri"/>
            </a:endParaRPr>
          </a:p>
          <a:p>
            <a:pPr marL="1272540" indent="-287020">
              <a:lnSpc>
                <a:spcPct val="100000"/>
              </a:lnSpc>
              <a:spcBef>
                <a:spcPts val="894"/>
              </a:spcBef>
              <a:buChar char="•"/>
              <a:tabLst>
                <a:tab pos="1272540" algn="l"/>
                <a:tab pos="1273175" algn="l"/>
              </a:tabLst>
            </a:pPr>
            <a:r>
              <a:rPr sz="1600" spc="-5">
                <a:solidFill>
                  <a:srgbClr val="3E4444"/>
                </a:solidFill>
                <a:latin typeface="Arial"/>
                <a:cs typeface="Arial"/>
              </a:rPr>
              <a:t>100% repeatable</a:t>
            </a:r>
            <a:r>
              <a:rPr sz="1600" spc="-40">
                <a:solidFill>
                  <a:srgbClr val="3E4444"/>
                </a:solidFill>
                <a:latin typeface="Arial"/>
                <a:cs typeface="Arial"/>
              </a:rPr>
              <a:t> </a:t>
            </a:r>
            <a:r>
              <a:rPr sz="1600">
                <a:solidFill>
                  <a:srgbClr val="3E4444"/>
                </a:solidFill>
                <a:latin typeface="Arial"/>
                <a:cs typeface="Arial"/>
              </a:rPr>
              <a:t>process</a:t>
            </a:r>
            <a:endParaRPr sz="1600">
              <a:latin typeface="Arial"/>
              <a:cs typeface="Arial"/>
            </a:endParaRPr>
          </a:p>
          <a:p>
            <a:pPr marL="1272540" indent="-287020">
              <a:lnSpc>
                <a:spcPct val="100000"/>
              </a:lnSpc>
              <a:buChar char="•"/>
              <a:tabLst>
                <a:tab pos="1272540" algn="l"/>
                <a:tab pos="1273175" algn="l"/>
              </a:tabLst>
            </a:pPr>
            <a:r>
              <a:rPr sz="1600" spc="-5">
                <a:solidFill>
                  <a:srgbClr val="3E4444"/>
                </a:solidFill>
                <a:latin typeface="Arial"/>
                <a:cs typeface="Arial"/>
              </a:rPr>
              <a:t>Machine </a:t>
            </a:r>
            <a:r>
              <a:rPr sz="1600">
                <a:solidFill>
                  <a:srgbClr val="3E4444"/>
                </a:solidFill>
                <a:latin typeface="Arial"/>
                <a:cs typeface="Arial"/>
              </a:rPr>
              <a:t>is the</a:t>
            </a:r>
            <a:r>
              <a:rPr sz="1600" spc="-45">
                <a:solidFill>
                  <a:srgbClr val="3E4444"/>
                </a:solidFill>
                <a:latin typeface="Arial"/>
                <a:cs typeface="Arial"/>
              </a:rPr>
              <a:t> </a:t>
            </a:r>
            <a:r>
              <a:rPr sz="1600" spc="-5">
                <a:solidFill>
                  <a:srgbClr val="3E4444"/>
                </a:solidFill>
                <a:latin typeface="Arial"/>
                <a:cs typeface="Arial"/>
              </a:rPr>
              <a:t>center</a:t>
            </a:r>
            <a:endParaRPr sz="1600">
              <a:latin typeface="Arial"/>
              <a:cs typeface="Arial"/>
            </a:endParaRPr>
          </a:p>
          <a:p>
            <a:pPr marL="1272540" indent="-287020">
              <a:lnSpc>
                <a:spcPct val="100000"/>
              </a:lnSpc>
              <a:buChar char="•"/>
              <a:tabLst>
                <a:tab pos="1272540" algn="l"/>
                <a:tab pos="1273175" algn="l"/>
              </a:tabLst>
            </a:pPr>
            <a:r>
              <a:rPr sz="1600">
                <a:solidFill>
                  <a:srgbClr val="3E4444"/>
                </a:solidFill>
                <a:latin typeface="Arial"/>
                <a:cs typeface="Arial"/>
              </a:rPr>
              <a:t>Defective </a:t>
            </a:r>
            <a:r>
              <a:rPr sz="1600" spc="-5">
                <a:solidFill>
                  <a:srgbClr val="3E4444"/>
                </a:solidFill>
                <a:latin typeface="Arial"/>
                <a:cs typeface="Arial"/>
              </a:rPr>
              <a:t>product</a:t>
            </a:r>
            <a:r>
              <a:rPr sz="1600" spc="-70">
                <a:solidFill>
                  <a:srgbClr val="3E4444"/>
                </a:solidFill>
                <a:latin typeface="Arial"/>
                <a:cs typeface="Arial"/>
              </a:rPr>
              <a:t> </a:t>
            </a:r>
            <a:r>
              <a:rPr sz="1600" spc="-5">
                <a:solidFill>
                  <a:srgbClr val="3E4444"/>
                </a:solidFill>
                <a:latin typeface="Arial"/>
                <a:cs typeface="Arial"/>
              </a:rPr>
              <a:t>destroyed</a:t>
            </a:r>
            <a:endParaRPr sz="1600">
              <a:latin typeface="Arial"/>
              <a:cs typeface="Arial"/>
            </a:endParaRPr>
          </a:p>
          <a:p>
            <a:pPr>
              <a:lnSpc>
                <a:spcPct val="100000"/>
              </a:lnSpc>
            </a:pPr>
            <a:endParaRPr sz="180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1070"/>
              </a:spcBef>
            </a:pPr>
            <a:r>
              <a:rPr sz="1050">
                <a:solidFill>
                  <a:srgbClr val="3E4444"/>
                </a:solidFill>
                <a:latin typeface="Calibri"/>
                <a:cs typeface="Calibri"/>
              </a:rPr>
              <a:t>6</a:t>
            </a:r>
            <a:endParaRPr sz="1050">
              <a:latin typeface="Calibri"/>
              <a:cs typeface="Calibri"/>
            </a:endParaRPr>
          </a:p>
        </p:txBody>
      </p:sp>
      <p:sp>
        <p:nvSpPr>
          <p:cNvPr id="3" name="object 3"/>
          <p:cNvSpPr txBox="1">
            <a:spLocks noGrp="1"/>
          </p:cNvSpPr>
          <p:nvPr>
            <p:ph type="title" idx="4294967295"/>
          </p:nvPr>
        </p:nvSpPr>
        <p:spPr>
          <a:xfrm>
            <a:off x="328675" y="524476"/>
            <a:ext cx="2590800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b="1" spc="55" dirty="0">
                <a:solidFill>
                  <a:schemeClr val="accent4"/>
                </a:solidFill>
                <a:latin typeface="Times New Roman"/>
                <a:cs typeface="Times New Roman"/>
              </a:rPr>
              <a:t>The Challenge</a:t>
            </a:r>
          </a:p>
        </p:txBody>
      </p:sp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6364223" y="1912150"/>
            <a:ext cx="4486643" cy="2304287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6444337" y="4397361"/>
            <a:ext cx="2928620" cy="3619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100" b="1">
                <a:solidFill>
                  <a:srgbClr val="3E4444"/>
                </a:solidFill>
                <a:latin typeface="Calibri"/>
                <a:cs typeface="Calibri"/>
              </a:rPr>
              <a:t>Pony.ai</a:t>
            </a:r>
            <a:r>
              <a:rPr sz="1100" b="1" spc="-25">
                <a:solidFill>
                  <a:srgbClr val="3E4444"/>
                </a:solidFill>
                <a:latin typeface="Calibri"/>
                <a:cs typeface="Calibri"/>
              </a:rPr>
              <a:t> </a:t>
            </a:r>
            <a:r>
              <a:rPr sz="1100" b="1" spc="-5">
                <a:solidFill>
                  <a:srgbClr val="3E4444"/>
                </a:solidFill>
                <a:latin typeface="Calibri"/>
                <a:cs typeface="Calibri"/>
              </a:rPr>
              <a:t>self-drive</a:t>
            </a:r>
            <a:endParaRPr sz="110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sz="1100" u="sng" spc="-5">
                <a:solidFill>
                  <a:srgbClr val="3E4444"/>
                </a:solidFill>
                <a:uFill>
                  <a:solidFill>
                    <a:srgbClr val="3E4444"/>
                  </a:solidFill>
                </a:uFill>
                <a:latin typeface="Calibri"/>
                <a:cs typeface="Calibri"/>
                <a:hlinkClick r:id="rId4"/>
              </a:rPr>
              <a:t>https://www.youtube.com/watch?v=jKFV7qjWaD4</a:t>
            </a:r>
            <a:endParaRPr sz="1100">
              <a:latin typeface="Calibri"/>
              <a:cs typeface="Calibri"/>
            </a:endParaRPr>
          </a:p>
        </p:txBody>
      </p:sp>
      <p:pic>
        <p:nvPicPr>
          <p:cNvPr id="6" name="object 6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868680" y="1912150"/>
            <a:ext cx="4483607" cy="2304287"/>
          </a:xfrm>
          <a:prstGeom prst="rect">
            <a:avLst/>
          </a:prstGeom>
        </p:spPr>
      </p:pic>
      <p:sp>
        <p:nvSpPr>
          <p:cNvPr id="7" name="object 7"/>
          <p:cNvSpPr txBox="1"/>
          <p:nvPr/>
        </p:nvSpPr>
        <p:spPr>
          <a:xfrm>
            <a:off x="6794466" y="5016310"/>
            <a:ext cx="2160270" cy="75819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299085" indent="-287020">
              <a:lnSpc>
                <a:spcPct val="100000"/>
              </a:lnSpc>
              <a:spcBef>
                <a:spcPts val="105"/>
              </a:spcBef>
              <a:buChar char="•"/>
              <a:tabLst>
                <a:tab pos="299085" algn="l"/>
                <a:tab pos="299720" algn="l"/>
              </a:tabLst>
            </a:pPr>
            <a:r>
              <a:rPr sz="1600" spc="-5">
                <a:solidFill>
                  <a:srgbClr val="3E4444"/>
                </a:solidFill>
                <a:latin typeface="Arial"/>
                <a:cs typeface="Arial"/>
              </a:rPr>
              <a:t>Always</a:t>
            </a:r>
            <a:r>
              <a:rPr sz="1600" spc="-15">
                <a:solidFill>
                  <a:srgbClr val="3E4444"/>
                </a:solidFill>
                <a:latin typeface="Arial"/>
                <a:cs typeface="Arial"/>
              </a:rPr>
              <a:t> </a:t>
            </a:r>
            <a:r>
              <a:rPr sz="1600" spc="-5">
                <a:solidFill>
                  <a:srgbClr val="3E4444"/>
                </a:solidFill>
                <a:latin typeface="Arial"/>
                <a:cs typeface="Arial"/>
              </a:rPr>
              <a:t>change</a:t>
            </a:r>
            <a:endParaRPr sz="1600">
              <a:latin typeface="Arial"/>
              <a:cs typeface="Arial"/>
            </a:endParaRPr>
          </a:p>
          <a:p>
            <a:pPr marL="299085" indent="-287020">
              <a:lnSpc>
                <a:spcPct val="100000"/>
              </a:lnSpc>
              <a:buChar char="•"/>
              <a:tabLst>
                <a:tab pos="299085" algn="l"/>
                <a:tab pos="299720" algn="l"/>
              </a:tabLst>
            </a:pPr>
            <a:r>
              <a:rPr sz="1600">
                <a:solidFill>
                  <a:srgbClr val="3E4444"/>
                </a:solidFill>
                <a:latin typeface="Arial"/>
                <a:cs typeface="Arial"/>
              </a:rPr>
              <a:t>Human in the</a:t>
            </a:r>
            <a:r>
              <a:rPr sz="1600" spc="-95">
                <a:solidFill>
                  <a:srgbClr val="3E4444"/>
                </a:solidFill>
                <a:latin typeface="Arial"/>
                <a:cs typeface="Arial"/>
              </a:rPr>
              <a:t> </a:t>
            </a:r>
            <a:r>
              <a:rPr sz="1600" spc="-5">
                <a:solidFill>
                  <a:srgbClr val="3E4444"/>
                </a:solidFill>
                <a:latin typeface="Arial"/>
                <a:cs typeface="Arial"/>
              </a:rPr>
              <a:t>loop</a:t>
            </a:r>
            <a:endParaRPr sz="1600">
              <a:latin typeface="Arial"/>
              <a:cs typeface="Arial"/>
            </a:endParaRPr>
          </a:p>
          <a:p>
            <a:pPr marL="299085" indent="-287020">
              <a:lnSpc>
                <a:spcPct val="100000"/>
              </a:lnSpc>
              <a:buChar char="•"/>
              <a:tabLst>
                <a:tab pos="299085" algn="l"/>
                <a:tab pos="299720" algn="l"/>
              </a:tabLst>
            </a:pPr>
            <a:r>
              <a:rPr sz="1600" spc="-5">
                <a:solidFill>
                  <a:srgbClr val="3E4444"/>
                </a:solidFill>
                <a:latin typeface="Arial"/>
                <a:cs typeface="Arial"/>
              </a:rPr>
              <a:t>Corner </a:t>
            </a:r>
            <a:r>
              <a:rPr sz="1600" spc="5">
                <a:solidFill>
                  <a:srgbClr val="3E4444"/>
                </a:solidFill>
                <a:latin typeface="Arial"/>
                <a:cs typeface="Arial"/>
              </a:rPr>
              <a:t>case</a:t>
            </a:r>
            <a:r>
              <a:rPr sz="1600" spc="-65">
                <a:solidFill>
                  <a:srgbClr val="3E4444"/>
                </a:solidFill>
                <a:latin typeface="Arial"/>
                <a:cs typeface="Arial"/>
              </a:rPr>
              <a:t> </a:t>
            </a:r>
            <a:r>
              <a:rPr sz="1600">
                <a:solidFill>
                  <a:srgbClr val="3E4444"/>
                </a:solidFill>
                <a:latin typeface="Arial"/>
                <a:cs typeface="Arial"/>
              </a:rPr>
              <a:t>matters</a:t>
            </a:r>
            <a:endParaRPr sz="1600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1949635" y="1375517"/>
            <a:ext cx="2457608" cy="260328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sz="1600" b="1" dirty="0">
                <a:solidFill>
                  <a:srgbClr val="003864"/>
                </a:solidFill>
                <a:latin typeface="Arial"/>
                <a:cs typeface="Arial"/>
              </a:rPr>
              <a:t>Manufacturing</a:t>
            </a:r>
            <a:r>
              <a:rPr sz="1600" b="1" spc="35" dirty="0">
                <a:solidFill>
                  <a:srgbClr val="003864"/>
                </a:solidFill>
                <a:latin typeface="Arial"/>
                <a:cs typeface="Arial"/>
              </a:rPr>
              <a:t> </a:t>
            </a:r>
            <a:r>
              <a:rPr sz="1600" b="1" spc="5" dirty="0">
                <a:solidFill>
                  <a:srgbClr val="003864"/>
                </a:solidFill>
                <a:latin typeface="Arial"/>
                <a:cs typeface="Arial"/>
              </a:rPr>
              <a:t>Process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7606307" y="1364733"/>
            <a:ext cx="2295573" cy="260328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sz="1600" b="1" dirty="0">
                <a:solidFill>
                  <a:srgbClr val="003864"/>
                </a:solidFill>
                <a:latin typeface="Arial"/>
                <a:cs typeface="Arial"/>
              </a:rPr>
              <a:t>Transportation</a:t>
            </a:r>
            <a:r>
              <a:rPr sz="1600" b="1" spc="35" dirty="0">
                <a:solidFill>
                  <a:srgbClr val="003864"/>
                </a:solidFill>
                <a:latin typeface="Arial"/>
                <a:cs typeface="Arial"/>
              </a:rPr>
              <a:t> </a:t>
            </a:r>
            <a:r>
              <a:rPr sz="1600" b="1" spc="-5" dirty="0">
                <a:solidFill>
                  <a:srgbClr val="003864"/>
                </a:solidFill>
                <a:latin typeface="Arial"/>
                <a:cs typeface="Arial"/>
              </a:rPr>
              <a:t>System</a:t>
            </a:r>
            <a:endParaRPr sz="1600" dirty="0">
              <a:latin typeface="Arial"/>
              <a:cs typeface="Arial"/>
            </a:endParaRPr>
          </a:p>
        </p:txBody>
      </p:sp>
      <p:pic>
        <p:nvPicPr>
          <p:cNvPr id="10" name="object 10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5126737" y="4938569"/>
            <a:ext cx="1938526" cy="1008887"/>
          </a:xfrm>
          <a:prstGeom prst="rect">
            <a:avLst/>
          </a:prstGeom>
        </p:spPr>
      </p:pic>
      <p:sp>
        <p:nvSpPr>
          <p:cNvPr id="11" name="object 11"/>
          <p:cNvSpPr txBox="1"/>
          <p:nvPr/>
        </p:nvSpPr>
        <p:spPr>
          <a:xfrm>
            <a:off x="5418803" y="5931208"/>
            <a:ext cx="81280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solidFill>
                  <a:srgbClr val="3E4444"/>
                </a:solidFill>
                <a:latin typeface="Calibri"/>
                <a:cs typeface="Calibri"/>
              </a:rPr>
              <a:t>Long</a:t>
            </a:r>
            <a:r>
              <a:rPr sz="1800" spc="-55" dirty="0">
                <a:solidFill>
                  <a:srgbClr val="3E4444"/>
                </a:solidFill>
                <a:latin typeface="Calibri"/>
                <a:cs typeface="Calibri"/>
              </a:rPr>
              <a:t> </a:t>
            </a:r>
            <a:r>
              <a:rPr sz="1800" spc="-10" dirty="0">
                <a:solidFill>
                  <a:srgbClr val="3E4444"/>
                </a:solidFill>
                <a:latin typeface="Calibri"/>
                <a:cs typeface="Calibri"/>
              </a:rPr>
              <a:t>tail</a:t>
            </a:r>
            <a:endParaRPr sz="1800" dirty="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3720566" y="1097374"/>
            <a:ext cx="2375434" cy="2418740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6363294" y="3746912"/>
            <a:ext cx="2645641" cy="2542798"/>
          </a:xfrm>
          <a:prstGeom prst="rect">
            <a:avLst/>
          </a:prstGeom>
        </p:spPr>
      </p:pic>
      <p:sp>
        <p:nvSpPr>
          <p:cNvPr id="5" name="object 5"/>
          <p:cNvSpPr txBox="1">
            <a:spLocks noGrp="1"/>
          </p:cNvSpPr>
          <p:nvPr>
            <p:ph type="title" idx="4294967295"/>
          </p:nvPr>
        </p:nvSpPr>
        <p:spPr>
          <a:xfrm>
            <a:off x="278167" y="361025"/>
            <a:ext cx="7467600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b="1" spc="55" dirty="0">
                <a:solidFill>
                  <a:schemeClr val="accent4"/>
                </a:solidFill>
                <a:latin typeface="Times New Roman"/>
                <a:cs typeface="Times New Roman"/>
              </a:rPr>
              <a:t>Progress in AI &amp; LLM (Large Language Model)</a:t>
            </a:r>
          </a:p>
        </p:txBody>
      </p:sp>
      <p:pic>
        <p:nvPicPr>
          <p:cNvPr id="6" name="object 6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6295488" y="1097374"/>
            <a:ext cx="2518937" cy="2473685"/>
          </a:xfrm>
          <a:prstGeom prst="rect">
            <a:avLst/>
          </a:prstGeom>
        </p:spPr>
      </p:pic>
      <p:pic>
        <p:nvPicPr>
          <p:cNvPr id="7" name="object 7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3884336" y="3604423"/>
            <a:ext cx="2152668" cy="2685287"/>
          </a:xfrm>
          <a:prstGeom prst="rect">
            <a:avLst/>
          </a:prstGeom>
        </p:spPr>
      </p:pic>
      <p:pic>
        <p:nvPicPr>
          <p:cNvPr id="2" name="object 6">
            <a:extLst>
              <a:ext uri="{FF2B5EF4-FFF2-40B4-BE49-F238E27FC236}">
                <a16:creationId xmlns:a16="http://schemas.microsoft.com/office/drawing/2014/main" id="{CA8EDAFE-0BFE-8BC8-14A5-FC7216AFE89C}"/>
              </a:ext>
            </a:extLst>
          </p:cNvPr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9013913" y="1097374"/>
            <a:ext cx="2965358" cy="2560319"/>
          </a:xfrm>
          <a:prstGeom prst="rect">
            <a:avLst/>
          </a:prstGeom>
        </p:spPr>
      </p:pic>
      <p:pic>
        <p:nvPicPr>
          <p:cNvPr id="8" name="object 7">
            <a:extLst>
              <a:ext uri="{FF2B5EF4-FFF2-40B4-BE49-F238E27FC236}">
                <a16:creationId xmlns:a16="http://schemas.microsoft.com/office/drawing/2014/main" id="{1A206115-0D42-31AC-A2C8-4DF9A74BB07B}"/>
              </a:ext>
            </a:extLst>
          </p:cNvPr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9166940" y="3873921"/>
            <a:ext cx="2645641" cy="2623054"/>
          </a:xfrm>
          <a:prstGeom prst="rect">
            <a:avLst/>
          </a:prstGeom>
        </p:spPr>
      </p:pic>
      <p:sp>
        <p:nvSpPr>
          <p:cNvPr id="9" name="object 3">
            <a:extLst>
              <a:ext uri="{FF2B5EF4-FFF2-40B4-BE49-F238E27FC236}">
                <a16:creationId xmlns:a16="http://schemas.microsoft.com/office/drawing/2014/main" id="{46EB6581-978F-5C82-01E7-B22973A939E0}"/>
              </a:ext>
            </a:extLst>
          </p:cNvPr>
          <p:cNvSpPr txBox="1"/>
          <p:nvPr/>
        </p:nvSpPr>
        <p:spPr>
          <a:xfrm>
            <a:off x="437932" y="5275886"/>
            <a:ext cx="2992806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600" spc="-5">
                <a:solidFill>
                  <a:srgbClr val="3E4444"/>
                </a:solidFill>
                <a:latin typeface="微软雅黑"/>
                <a:cs typeface="微软雅黑"/>
              </a:rPr>
              <a:t>How deep learning </a:t>
            </a:r>
            <a:r>
              <a:rPr sz="600">
                <a:solidFill>
                  <a:srgbClr val="3E4444"/>
                </a:solidFill>
                <a:latin typeface="微软雅黑"/>
                <a:cs typeface="微软雅黑"/>
              </a:rPr>
              <a:t>is a subset of </a:t>
            </a:r>
            <a:r>
              <a:rPr sz="600" spc="-5">
                <a:solidFill>
                  <a:srgbClr val="3E4444"/>
                </a:solidFill>
                <a:latin typeface="微软雅黑"/>
                <a:cs typeface="微软雅黑"/>
              </a:rPr>
              <a:t>machine learning and how machine learning </a:t>
            </a:r>
            <a:r>
              <a:rPr sz="600">
                <a:solidFill>
                  <a:srgbClr val="3E4444"/>
                </a:solidFill>
                <a:latin typeface="微软雅黑"/>
                <a:cs typeface="微软雅黑"/>
              </a:rPr>
              <a:t>is a subset of  artificial </a:t>
            </a:r>
            <a:r>
              <a:rPr sz="600" spc="-5">
                <a:solidFill>
                  <a:srgbClr val="3E4444"/>
                </a:solidFill>
                <a:latin typeface="微软雅黑"/>
                <a:cs typeface="微软雅黑"/>
              </a:rPr>
              <a:t>intelligence (AI)</a:t>
            </a:r>
            <a:r>
              <a:rPr sz="600" spc="-35">
                <a:solidFill>
                  <a:srgbClr val="3E4444"/>
                </a:solidFill>
                <a:latin typeface="微软雅黑"/>
                <a:cs typeface="微软雅黑"/>
              </a:rPr>
              <a:t> </a:t>
            </a:r>
            <a:r>
              <a:rPr sz="500" i="1" u="sng">
                <a:solidFill>
                  <a:srgbClr val="68D2DF"/>
                </a:solidFill>
                <a:uFill>
                  <a:solidFill>
                    <a:srgbClr val="68D2DF"/>
                  </a:solidFill>
                </a:uFill>
                <a:latin typeface="Calibri"/>
                <a:cs typeface="Calibri"/>
                <a:hlinkClick r:id="rId8"/>
              </a:rPr>
              <a:t>https://en.wikipedia.org/wiki/Deep_learning</a:t>
            </a:r>
            <a:endParaRPr sz="500">
              <a:latin typeface="Calibri"/>
              <a:cs typeface="Calibri"/>
            </a:endParaRPr>
          </a:p>
        </p:txBody>
      </p:sp>
      <p:pic>
        <p:nvPicPr>
          <p:cNvPr id="10" name="object 8">
            <a:extLst>
              <a:ext uri="{FF2B5EF4-FFF2-40B4-BE49-F238E27FC236}">
                <a16:creationId xmlns:a16="http://schemas.microsoft.com/office/drawing/2014/main" id="{D491BBD0-CC97-2D57-09CC-5A32C5FC72C7}"/>
              </a:ext>
            </a:extLst>
          </p:cNvPr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488099" y="1097374"/>
            <a:ext cx="3032979" cy="3108959"/>
          </a:xfrm>
          <a:prstGeom prst="rect">
            <a:avLst/>
          </a:prstGeom>
        </p:spPr>
      </p:pic>
      <p:pic>
        <p:nvPicPr>
          <p:cNvPr id="11" name="object 9">
            <a:extLst>
              <a:ext uri="{FF2B5EF4-FFF2-40B4-BE49-F238E27FC236}">
                <a16:creationId xmlns:a16="http://schemas.microsoft.com/office/drawing/2014/main" id="{CDDE4945-050A-0797-52F0-F8320A7914D5}"/>
              </a:ext>
            </a:extLst>
          </p:cNvPr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448475" y="4253249"/>
            <a:ext cx="3068089" cy="1013790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文本框 8">
            <a:extLst>
              <a:ext uri="{FF2B5EF4-FFF2-40B4-BE49-F238E27FC236}">
                <a16:creationId xmlns:a16="http://schemas.microsoft.com/office/drawing/2014/main" id="{7C4B0BB9-6D4B-1F9D-CB4B-B8FB7E79711C}"/>
              </a:ext>
            </a:extLst>
          </p:cNvPr>
          <p:cNvSpPr txBox="1"/>
          <p:nvPr/>
        </p:nvSpPr>
        <p:spPr>
          <a:xfrm>
            <a:off x="601740" y="1464650"/>
            <a:ext cx="10351363" cy="42473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rtl="0"/>
            <a:r>
              <a:rPr lang="zh-CN" altLang="en-US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</a:rPr>
              <a:t> </a:t>
            </a:r>
          </a:p>
          <a:p>
            <a:pPr rtl="0"/>
            <a:r>
              <a:rPr lang="en-US" altLang="zh-CN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</a:rPr>
              <a:t>- Great Language for Data Analysis &amp; Reporting</a:t>
            </a:r>
          </a:p>
          <a:p>
            <a:pPr rtl="0"/>
            <a:r>
              <a:rPr lang="en-US" altLang="zh-CN" dirty="0">
                <a:effectLst/>
              </a:rPr>
              <a:t>  - </a:t>
            </a:r>
            <a:r>
              <a:rPr lang="en-US" altLang="zh-CN" dirty="0">
                <a:solidFill>
                  <a:srgbClr val="333F48"/>
                </a:solidFill>
                <a:latin typeface="Arial" panose="020B0604020202020204" pitchFamily="34" charset="0"/>
              </a:rPr>
              <a:t>Mature platform for data analysis and reporting developed by Posit@.</a:t>
            </a:r>
          </a:p>
          <a:p>
            <a:pPr rtl="0"/>
            <a:r>
              <a:rPr lang="en-US" altLang="zh-CN" dirty="0">
                <a:solidFill>
                  <a:srgbClr val="333F48"/>
                </a:solidFill>
                <a:latin typeface="Arial" panose="020B0604020202020204" pitchFamily="34" charset="0"/>
              </a:rPr>
              <a:t>  - User-friendly syntax, closely resembling natural language (e.g., </a:t>
            </a:r>
            <a:r>
              <a:rPr lang="en-US" altLang="zh-CN" dirty="0" err="1">
                <a:solidFill>
                  <a:srgbClr val="333F48"/>
                </a:solidFill>
                <a:latin typeface="Arial" panose="020B0604020202020204" pitchFamily="34" charset="0"/>
              </a:rPr>
              <a:t>Tidyverse</a:t>
            </a:r>
            <a:r>
              <a:rPr lang="en-US" altLang="zh-CN" dirty="0">
                <a:solidFill>
                  <a:srgbClr val="333F48"/>
                </a:solidFill>
                <a:latin typeface="Arial" panose="020B0604020202020204" pitchFamily="34" charset="0"/>
              </a:rPr>
              <a:t>/ggplot2</a:t>
            </a:r>
            <a:r>
              <a:rPr lang="zh-CN" altLang="en-US" dirty="0">
                <a:solidFill>
                  <a:srgbClr val="333F48"/>
                </a:solidFill>
                <a:latin typeface="Arial" panose="020B0604020202020204" pitchFamily="34" charset="0"/>
              </a:rPr>
              <a:t>）</a:t>
            </a:r>
            <a:endParaRPr lang="en-US" altLang="zh-CN" dirty="0">
              <a:solidFill>
                <a:srgbClr val="333F48"/>
              </a:solidFill>
              <a:latin typeface="Arial" panose="020B0604020202020204" pitchFamily="34" charset="0"/>
            </a:endParaRPr>
          </a:p>
          <a:p>
            <a:pPr rtl="0"/>
            <a:r>
              <a:rPr lang="en-US" altLang="zh-CN" dirty="0">
                <a:solidFill>
                  <a:srgbClr val="333F48"/>
                </a:solidFill>
                <a:latin typeface="Arial" panose="020B0604020202020204" pitchFamily="34" charset="0"/>
              </a:rPr>
              <a:t>  - Widely used in the pharmaceutical industry with a thriving ecosystem.</a:t>
            </a:r>
          </a:p>
          <a:p>
            <a:pPr rtl="0"/>
            <a:endParaRPr lang="en-US" altLang="zh-CN" dirty="0">
              <a:effectLst/>
            </a:endParaRPr>
          </a:p>
          <a:p>
            <a:r>
              <a:rPr lang="en-US" altLang="zh-CN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- Open-Source</a:t>
            </a:r>
          </a:p>
          <a:p>
            <a:pPr rtl="0"/>
            <a:r>
              <a:rPr lang="en-US" altLang="zh-CN" dirty="0">
                <a:effectLst/>
              </a:rPr>
              <a:t>  - </a:t>
            </a:r>
            <a:r>
              <a:rPr lang="en-US" altLang="zh-CN" dirty="0">
                <a:solidFill>
                  <a:srgbClr val="333F48"/>
                </a:solidFill>
                <a:latin typeface="Arial" panose="020B0604020202020204" pitchFamily="34" charset="0"/>
              </a:rPr>
              <a:t>Extensive codebase allows AI to learn and enhance capabilities.</a:t>
            </a:r>
          </a:p>
          <a:p>
            <a:pPr rtl="0"/>
            <a:r>
              <a:rPr lang="en-US" altLang="zh-CN" dirty="0">
                <a:solidFill>
                  <a:srgbClr val="333F48"/>
                </a:solidFill>
                <a:latin typeface="Arial" panose="020B0604020202020204" pitchFamily="34" charset="0"/>
              </a:rPr>
              <a:t>  - Enables automation of R code comprehension and generation through AI.</a:t>
            </a:r>
          </a:p>
          <a:p>
            <a:pPr rtl="0"/>
            <a:r>
              <a:rPr lang="en-US" altLang="zh-CN" dirty="0">
                <a:solidFill>
                  <a:srgbClr val="333F48"/>
                </a:solidFill>
                <a:latin typeface="Arial" panose="020B0604020202020204" pitchFamily="34" charset="0"/>
              </a:rPr>
              <a:t>  - Potential for developing sophisticated AI-powered R applications.</a:t>
            </a:r>
          </a:p>
          <a:p>
            <a:pPr rtl="0"/>
            <a:endParaRPr lang="en-US" altLang="zh-CN" dirty="0">
              <a:effectLst/>
            </a:endParaRPr>
          </a:p>
          <a:p>
            <a:r>
              <a:rPr lang="en-US" altLang="zh-CN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- R Shiny UI</a:t>
            </a:r>
          </a:p>
          <a:p>
            <a:pPr rtl="0"/>
            <a:r>
              <a:rPr lang="en-US" altLang="zh-CN" dirty="0">
                <a:effectLst/>
              </a:rPr>
              <a:t>  - </a:t>
            </a:r>
            <a:r>
              <a:rPr lang="en-US" altLang="zh-CN" dirty="0">
                <a:solidFill>
                  <a:srgbClr val="333F48"/>
                </a:solidFill>
                <a:latin typeface="Arial" panose="020B0604020202020204" pitchFamily="34" charset="0"/>
              </a:rPr>
              <a:t>Superior UI framework for improved human-computer interaction.</a:t>
            </a:r>
          </a:p>
          <a:p>
            <a:pPr rtl="0"/>
            <a:r>
              <a:rPr lang="en-US" altLang="zh-CN" dirty="0">
                <a:solidFill>
                  <a:srgbClr val="333F48"/>
                </a:solidFill>
                <a:latin typeface="Arial" panose="020B0604020202020204" pitchFamily="34" charset="0"/>
              </a:rPr>
              <a:t>  - Integrates AI with human intelligence (AI+HI) seamlessly.</a:t>
            </a:r>
          </a:p>
          <a:p>
            <a:pPr rtl="0"/>
            <a:r>
              <a:rPr lang="en-US" altLang="zh-CN" dirty="0">
                <a:solidFill>
                  <a:srgbClr val="333F48"/>
                </a:solidFill>
                <a:latin typeface="Arial" panose="020B0604020202020204" pitchFamily="34" charset="0"/>
              </a:rPr>
              <a:t>  - Facilitates real-time data analysis and reporting using R in the AI+HI context.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B39CC604-CFFB-4E55-6B84-E8E4B1B3ED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61758" y="2451367"/>
            <a:ext cx="1665561" cy="630894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93CE1AB1-40D9-F2D8-9CA6-D9239BFD52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40990" y="3562350"/>
            <a:ext cx="912113" cy="929322"/>
          </a:xfrm>
          <a:prstGeom prst="rect">
            <a:avLst/>
          </a:prstGeom>
        </p:spPr>
      </p:pic>
      <p:sp>
        <p:nvSpPr>
          <p:cNvPr id="8" name="AutoShape 2" descr="R語言- 維基百科，自由的百科全書">
            <a:extLst>
              <a:ext uri="{FF2B5EF4-FFF2-40B4-BE49-F238E27FC236}">
                <a16:creationId xmlns:a16="http://schemas.microsoft.com/office/drawing/2014/main" id="{2769D5F2-C251-923C-E40A-E04CD91AA39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0" name="AutoShape 4" descr="undefined">
            <a:extLst>
              <a:ext uri="{FF2B5EF4-FFF2-40B4-BE49-F238E27FC236}">
                <a16:creationId xmlns:a16="http://schemas.microsoft.com/office/drawing/2014/main" id="{148BC693-BA71-E25D-9F19-228CCD3FC54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96000" y="3429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pic>
        <p:nvPicPr>
          <p:cNvPr id="12" name="图片 11" descr="徽标, 图标&#10;&#10;描述已自动生成">
            <a:extLst>
              <a:ext uri="{FF2B5EF4-FFF2-40B4-BE49-F238E27FC236}">
                <a16:creationId xmlns:a16="http://schemas.microsoft.com/office/drawing/2014/main" id="{E67B018B-B58C-412D-D1C8-AE0E28B0BED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3197" y="967557"/>
            <a:ext cx="1069906" cy="829177"/>
          </a:xfrm>
          <a:prstGeom prst="rect">
            <a:avLst/>
          </a:prstGeom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F84F97A2-9CB1-80C2-84FD-650B84C27362}"/>
              </a:ext>
            </a:extLst>
          </p:cNvPr>
          <p:cNvSpPr txBox="1"/>
          <p:nvPr/>
        </p:nvSpPr>
        <p:spPr>
          <a:xfrm>
            <a:off x="523875" y="727937"/>
            <a:ext cx="6096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rtl="0"/>
            <a:r>
              <a:rPr lang="en-US" altLang="zh-CN" sz="2400" b="1" spc="55" dirty="0">
                <a:solidFill>
                  <a:schemeClr val="accent4"/>
                </a:solidFill>
                <a:latin typeface="Times New Roman"/>
                <a:ea typeface="+mj-ea"/>
                <a:cs typeface="Times New Roman"/>
              </a:rPr>
              <a:t>The Power of R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6DBBC84B-3ADD-5705-EABF-DD4DD7ED6D1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61758" y="4789845"/>
            <a:ext cx="1789936" cy="184424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833102391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spd="slow" advTm="2000">
        <p15:prstTrans prst="peelOff"/>
      </p:transition>
    </mc:Choice>
    <mc:Fallback xmlns="">
      <p:transition spd="slow" advTm="2000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D9A0EA0-CFDD-029A-BDAF-C92ECD5543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9A0EA0-CFDD-029A-BDAF-C92ECD5543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FD47C233-5DA5-9117-0207-814127C0306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altLang="zh-CN" b="1" spc="-15" dirty="0">
                <a:latin typeface="Times New Roman"/>
                <a:cs typeface="Times New Roman"/>
              </a:rPr>
              <a:t>Case Shar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84479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9A0126A-1DFA-11CA-DB79-518B7C607B3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dirty="0"/>
              <a:t>Vision</a:t>
            </a:r>
            <a:endParaRPr lang="zh-CN" altLang="en-US" dirty="0"/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EDA2945F-1BC7-F929-5D28-157E7AB8DDF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4F6AF39B-D62F-0980-4D9B-5B0FCEC004F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C985F0B3-8E00-8BBC-C729-D8F0C51CF6F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2206A8E3-0D31-864C-FC8A-05ED423333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文本占位符 6">
            <a:extLst>
              <a:ext uri="{FF2B5EF4-FFF2-40B4-BE49-F238E27FC236}">
                <a16:creationId xmlns:a16="http://schemas.microsoft.com/office/drawing/2014/main" id="{187E4C55-46E3-4983-F97B-F7DA85CFCC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E0A90897-57DF-7491-7C0B-A6A123A437EF}"/>
              </a:ext>
            </a:extLst>
          </p:cNvPr>
          <p:cNvSpPr txBox="1"/>
          <p:nvPr/>
        </p:nvSpPr>
        <p:spPr>
          <a:xfrm>
            <a:off x="6564700" y="6354399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>
                <a:hlinkClick r:id="rId2"/>
              </a:rPr>
              <a:t>microsoft.com/</a:t>
            </a:r>
            <a:r>
              <a:rPr lang="en-US" altLang="zh-CN" dirty="0" err="1">
                <a:hlinkClick r:id="rId2"/>
              </a:rPr>
              <a:t>en</a:t>
            </a:r>
            <a:r>
              <a:rPr lang="en-US" altLang="zh-CN" dirty="0">
                <a:hlinkClick r:id="rId2"/>
              </a:rPr>
              <a:t>-us/</a:t>
            </a:r>
            <a:r>
              <a:rPr lang="en-US" altLang="zh-CN" dirty="0" err="1">
                <a:hlinkClick r:id="rId2"/>
              </a:rPr>
              <a:t>videoplayer</a:t>
            </a:r>
            <a:r>
              <a:rPr lang="en-US" altLang="zh-CN" dirty="0">
                <a:hlinkClick r:id="rId2"/>
              </a:rPr>
              <a:t>/embed/RW13t3E</a:t>
            </a:r>
            <a:endParaRPr lang="zh-CN" altLang="en-US" dirty="0"/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D3E9AC16-4449-7869-0303-51393B7B87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8676" y="1203066"/>
            <a:ext cx="9404565" cy="5011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329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2000"/>
    </mc:Choice>
    <mc:Fallback xmlns="">
      <p:transition advTm="2000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Custom Design">
  <a:themeElements>
    <a:clrScheme name="BeiGene">
      <a:dk1>
        <a:srgbClr val="000000"/>
      </a:dk1>
      <a:lt1>
        <a:srgbClr val="FFFFFF"/>
      </a:lt1>
      <a:dk2>
        <a:srgbClr val="313F48"/>
      </a:dk2>
      <a:lt2>
        <a:srgbClr val="E8EBED"/>
      </a:lt2>
      <a:accent1>
        <a:srgbClr val="176E94"/>
      </a:accent1>
      <a:accent2>
        <a:srgbClr val="71C5E7"/>
      </a:accent2>
      <a:accent3>
        <a:srgbClr val="ED1C24"/>
      </a:accent3>
      <a:accent4>
        <a:srgbClr val="004974"/>
      </a:accent4>
      <a:accent5>
        <a:srgbClr val="686E9F"/>
      </a:accent5>
      <a:accent6>
        <a:srgbClr val="D86018"/>
      </a:accent6>
      <a:hlink>
        <a:srgbClr val="176E94"/>
      </a:hlink>
      <a:folHlink>
        <a:srgbClr val="004974"/>
      </a:folHlink>
    </a:clrScheme>
    <a:fontScheme name="Custom 40">
      <a:majorFont>
        <a:latin typeface="Gill Sans MT"/>
        <a:ea typeface=""/>
        <a:cs typeface=""/>
      </a:majorFont>
      <a:minorFont>
        <a:latin typeface="Gill Sans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solidFill>
            <a:schemeClr val="bg2">
              <a:lumMod val="90000"/>
            </a:schemeClr>
          </a:solidFill>
        </a:ln>
      </a:spPr>
      <a:bodyPr rtlCol="0" anchor="ctr"/>
      <a:lstStyle>
        <a:defPPr algn="ctr">
          <a:defRPr sz="1400" dirty="0" err="1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NGE-21-001-PresentationDeck-Nov1-Compresse12-3-21.pptx" id="{82716E48-0955-4A32-8A96-EF29BFB4730E}" vid="{2C4C701F-D618-4EB7-961B-23EDE1B2D1BE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9E9571B3EDCE244B75D3840C9E44006" ma:contentTypeVersion="18" ma:contentTypeDescription="Create a new document." ma:contentTypeScope="" ma:versionID="caa47f52733f7420956a5355bfde5af0">
  <xsd:schema xmlns:xsd="http://www.w3.org/2001/XMLSchema" xmlns:xs="http://www.w3.org/2001/XMLSchema" xmlns:p="http://schemas.microsoft.com/office/2006/metadata/properties" xmlns:ns2="43c9a518-8744-4305-8cda-d7e113a93f73" xmlns:ns3="a449bc4a-c50b-46e6-ad65-51446e556c8a" targetNamespace="http://schemas.microsoft.com/office/2006/metadata/properties" ma:root="true" ma:fieldsID="e62fcc8ba4836dcce1fbef3733957c8e" ns2:_="" ns3:_="">
    <xsd:import namespace="43c9a518-8744-4305-8cda-d7e113a93f73"/>
    <xsd:import namespace="a449bc4a-c50b-46e6-ad65-51446e556c8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OCR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c9a518-8744-4305-8cda-d7e113a93f7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e003d8f8-0131-4872-956d-282be94aac3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449bc4a-c50b-46e6-ad65-51446e556c8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12c7eee1-b4d1-49d2-b69f-80fa001fc471}" ma:internalName="TaxCatchAll" ma:showField="CatchAllData" ma:web="a449bc4a-c50b-46e6-ad65-51446e556c8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449bc4a-c50b-46e6-ad65-51446e556c8a" xsi:nil="true"/>
    <lcf76f155ced4ddcb4097134ff3c332f xmlns="43c9a518-8744-4305-8cda-d7e113a93f73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AD298F93-A03E-42DC-BC9C-5F6C7CC7EEE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F694512-E0DA-4B76-B6CE-DA42BFDA465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3c9a518-8744-4305-8cda-d7e113a93f73"/>
    <ds:schemaRef ds:uri="a449bc4a-c50b-46e6-ad65-51446e556c8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7B48C2D-AEAA-4DCE-A88F-A47FCCEEA9FE}">
  <ds:schemaRefs>
    <ds:schemaRef ds:uri="http://schemas.microsoft.com/office/2006/documentManagement/types"/>
    <ds:schemaRef ds:uri="http://schemas.microsoft.com/office/2006/metadata/properties"/>
    <ds:schemaRef ds:uri="43c9a518-8744-4305-8cda-d7e113a93f73"/>
    <ds:schemaRef ds:uri="http://purl.org/dc/dcmitype/"/>
    <ds:schemaRef ds:uri="http://schemas.openxmlformats.org/package/2006/metadata/core-properties"/>
    <ds:schemaRef ds:uri="http://www.w3.org/XML/1998/namespace"/>
    <ds:schemaRef ds:uri="http://purl.org/dc/elements/1.1/"/>
    <ds:schemaRef ds:uri="http://schemas.microsoft.com/office/infopath/2007/PartnerControls"/>
    <ds:schemaRef ds:uri="a449bc4a-c50b-46e6-ad65-51446e556c8a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095</TotalTime>
  <Words>690</Words>
  <Application>Microsoft Office PowerPoint</Application>
  <PresentationFormat>宽屏</PresentationFormat>
  <Paragraphs>115</Paragraphs>
  <Slides>25</Slides>
  <Notes>4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</vt:i4>
      </vt:variant>
    </vt:vector>
  </HeadingPairs>
  <TitlesOfParts>
    <vt:vector size="37" baseType="lpstr">
      <vt:lpstr>-apple-system</vt:lpstr>
      <vt:lpstr>等线</vt:lpstr>
      <vt:lpstr>微软雅黑</vt:lpstr>
      <vt:lpstr>Aptos</vt:lpstr>
      <vt:lpstr>Arial</vt:lpstr>
      <vt:lpstr>Calibri</vt:lpstr>
      <vt:lpstr>Gill Sans MT</vt:lpstr>
      <vt:lpstr>Lato</vt:lpstr>
      <vt:lpstr>Tahoma</vt:lpstr>
      <vt:lpstr>Times New Roman</vt:lpstr>
      <vt:lpstr>2_Custom Design</vt:lpstr>
      <vt:lpstr>think-cell Slide</vt:lpstr>
      <vt:lpstr>Leveraging R for Real-Time Data Analysis and Reporting in the AI+HI Paradigm</vt:lpstr>
      <vt:lpstr>DISCLAIMER</vt:lpstr>
      <vt:lpstr>PowerPoint 演示文稿</vt:lpstr>
      <vt:lpstr>Current Clinical Data Analysis Flow</vt:lpstr>
      <vt:lpstr>The Challenge</vt:lpstr>
      <vt:lpstr>Progress in AI &amp; LLM (Large Language Model)</vt:lpstr>
      <vt:lpstr>PowerPoint 演示文稿</vt:lpstr>
      <vt:lpstr>Case Sharing</vt:lpstr>
      <vt:lpstr>Vision</vt:lpstr>
      <vt:lpstr>ChatDataCopilot  - Interactive Code Generation and Data Analysis Copilot</vt:lpstr>
      <vt:lpstr>ChatDataCopilot  - Features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Graph Generation – from Shell Image</vt:lpstr>
      <vt:lpstr>PowerPoint 演示文稿</vt:lpstr>
      <vt:lpstr>PowerPoint 演示文稿</vt:lpstr>
      <vt:lpstr>Discussion</vt:lpstr>
      <vt:lpstr>Complexity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ccelerating Biometrics  Activities with Large Language  Models (LLMs)</dc:title>
  <dc:creator>Hao Chen</dc:creator>
  <cp:lastModifiedBy>Hao Chen</cp:lastModifiedBy>
  <cp:revision>32</cp:revision>
  <dcterms:created xsi:type="dcterms:W3CDTF">2024-01-14T11:08:20Z</dcterms:created>
  <dcterms:modified xsi:type="dcterms:W3CDTF">2024-03-28T13:24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or">
    <vt:lpwstr>Xpdf - https://xpdf.cn</vt:lpwstr>
  </property>
  <property fmtid="{D5CDD505-2E9C-101B-9397-08002B2CF9AE}" pid="3" name="ContentTypeId">
    <vt:lpwstr>0x01010039E9571B3EDCE244B75D3840C9E44006</vt:lpwstr>
  </property>
  <property fmtid="{D5CDD505-2E9C-101B-9397-08002B2CF9AE}" pid="4" name="MediaServiceImageTags">
    <vt:lpwstr/>
  </property>
</Properties>
</file>